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38" r:id="rId4"/>
    <p:sldMasterId id="2147483987" r:id="rId5"/>
    <p:sldMasterId id="2147484070" r:id="rId6"/>
  </p:sldMasterIdLst>
  <p:notesMasterIdLst>
    <p:notesMasterId r:id="rId14"/>
  </p:notesMasterIdLst>
  <p:handoutMasterIdLst>
    <p:handoutMasterId r:id="rId15"/>
  </p:handoutMasterIdLst>
  <p:sldIdLst>
    <p:sldId id="8825" r:id="rId7"/>
    <p:sldId id="521" r:id="rId8"/>
    <p:sldId id="380" r:id="rId9"/>
    <p:sldId id="343" r:id="rId10"/>
    <p:sldId id="350" r:id="rId11"/>
    <p:sldId id="435" r:id="rId12"/>
    <p:sldId id="8861" r:id="rId13"/>
  </p:sldIdLst>
  <p:sldSz cx="12192000" cy="6858000"/>
  <p:notesSz cx="7104063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C30D"/>
    <a:srgbClr val="F2C811"/>
    <a:srgbClr val="0078D7"/>
    <a:srgbClr val="000000"/>
    <a:srgbClr val="FFFFFF"/>
    <a:srgbClr val="F2C812"/>
    <a:srgbClr val="494949"/>
    <a:srgbClr val="FFC000"/>
    <a:srgbClr val="DEE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FF8D8C9-5CE6-414B-8C34-6E2F6433C6CA}" v="18" dt="2019-11-08T18:07:34.597"/>
  </p1510:revLst>
</p1510:revInfo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62540" autoAdjust="0"/>
  </p:normalViewPr>
  <p:slideViewPr>
    <p:cSldViewPr snapToGrid="0">
      <p:cViewPr varScale="1">
        <p:scale>
          <a:sx n="79" d="100"/>
          <a:sy n="79" d="100"/>
        </p:scale>
        <p:origin x="156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6559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20ACBEE-26EB-47D1-A9F0-3869EF1078C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76A12792-E5BA-4BF5-BFE4-0C13B9FB5B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5309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51F472B0-9DBF-4374-8A70-DE9093E7996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DD81A89D-8738-4ED5-BF6E-F438F4965D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026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B2D09C-E420-4905-8E74-B16C64801357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69457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58209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26649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271682"/>
            <a:ext cx="6096000" cy="4114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dirty="0"/>
          </a:p>
        </p:txBody>
      </p:sp>
      <p:sp>
        <p:nvSpPr>
          <p:cNvPr id="8" name="Header Placeholder 3"/>
          <p:cNvSpPr>
            <a:spLocks noGrp="1"/>
          </p:cNvSpPr>
          <p:nvPr>
            <p:ph type="hdr" sz="quarter"/>
          </p:nvPr>
        </p:nvSpPr>
        <p:spPr>
          <a:xfrm>
            <a:off x="279400" y="215107"/>
            <a:ext cx="3536950" cy="457200"/>
          </a:xfrm>
        </p:spPr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Power BI Governance and Deployment Overview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</p:spPr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8814793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271682"/>
            <a:ext cx="6096000" cy="4114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dirty="0"/>
          </a:p>
        </p:txBody>
      </p:sp>
      <p:sp>
        <p:nvSpPr>
          <p:cNvPr id="8" name="Header Placeholder 3"/>
          <p:cNvSpPr>
            <a:spLocks noGrp="1"/>
          </p:cNvSpPr>
          <p:nvPr>
            <p:ph type="hdr" sz="quarter"/>
          </p:nvPr>
        </p:nvSpPr>
        <p:spPr>
          <a:xfrm>
            <a:off x="279400" y="215107"/>
            <a:ext cx="3536950" cy="457200"/>
          </a:xfrm>
        </p:spPr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Power BI Governance and Deployment Overview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</p:spPr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0381033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37332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microsoft.com/office/2007/relationships/hdphoto" Target="../media/hdphoto1.wdp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80"/>
          </a:p>
        </p:txBody>
      </p:sp>
    </p:spTree>
    <p:extLst>
      <p:ext uri="{BB962C8B-B14F-4D97-AF65-F5344CB8AC3E}">
        <p14:creationId xmlns:p14="http://schemas.microsoft.com/office/powerpoint/2010/main" val="3759255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Non-bulleted tex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2C81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961">
                <a:solidFill>
                  <a:schemeClr val="bg1"/>
                </a:solidFill>
              </a:defRPr>
            </a:lvl2pPr>
            <a:lvl3pPr marL="224097" indent="0">
              <a:buNone/>
              <a:defRPr>
                <a:solidFill>
                  <a:schemeClr val="bg1"/>
                </a:solidFill>
              </a:defRPr>
            </a:lvl3pPr>
            <a:lvl4pPr marL="448193" indent="0">
              <a:buNone/>
              <a:defRPr>
                <a:solidFill>
                  <a:schemeClr val="bg1"/>
                </a:solidFill>
              </a:defRPr>
            </a:lvl4pPr>
            <a:lvl5pPr marL="67229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1708055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6940721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2C81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6859038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8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8429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627412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7574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2890684"/>
            <a:ext cx="12192000" cy="39673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482" y="1117590"/>
            <a:ext cx="11587037" cy="1655108"/>
          </a:xfrm>
        </p:spPr>
        <p:txBody>
          <a:bodyPr anchor="b"/>
          <a:lstStyle>
            <a:lvl1pPr indent="0" algn="l">
              <a:defRPr sz="48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Module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02482" y="3178513"/>
            <a:ext cx="11587037" cy="3480144"/>
          </a:xfrm>
        </p:spPr>
        <p:txBody>
          <a:bodyPr>
            <a:normAutofit/>
          </a:bodyPr>
          <a:lstStyle>
            <a:lvl1pPr marL="354013" indent="-354013">
              <a:buFont typeface="Wingdings" panose="05000000000000000000" pitchFamily="2" charset="2"/>
              <a:buChar char="§"/>
              <a:defRPr sz="3200">
                <a:solidFill>
                  <a:srgbClr val="EDC30D"/>
                </a:solidFill>
              </a:defRPr>
            </a:lvl1pPr>
          </a:lstStyle>
          <a:p>
            <a:pPr lvl="0"/>
            <a:r>
              <a:rPr lang="en-US"/>
              <a:t>Module content</a:t>
            </a:r>
          </a:p>
        </p:txBody>
      </p:sp>
    </p:spTree>
    <p:extLst>
      <p:ext uri="{BB962C8B-B14F-4D97-AF65-F5344CB8AC3E}">
        <p14:creationId xmlns:p14="http://schemas.microsoft.com/office/powerpoint/2010/main" val="2757320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>
        <p:tmplLst>
          <p:tmpl>
            <p:tnLst>
              <p:par>
                <p:cTn presetID="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resentation Closing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plate&#10;&#10;Description automatically generated">
            <a:extLst>
              <a:ext uri="{FF2B5EF4-FFF2-40B4-BE49-F238E27FC236}">
                <a16:creationId xmlns:a16="http://schemas.microsoft.com/office/drawing/2014/main" id="{66FC881D-83BE-4DF4-91B1-42EB97D2339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1E36CE3-C893-42CC-8706-D086D6C9217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531468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resentation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8558" y="4749150"/>
            <a:ext cx="978834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6" name="Picture 5" descr="A picture containing plate&#10;&#10;Description automatically generated">
            <a:extLst>
              <a:ext uri="{FF2B5EF4-FFF2-40B4-BE49-F238E27FC236}">
                <a16:creationId xmlns:a16="http://schemas.microsoft.com/office/drawing/2014/main" id="{D6A85A30-250C-419D-AF40-7BE0DC23EC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117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entation Title">
    <p:bg>
      <p:bgPr>
        <a:solidFill>
          <a:srgbClr val="505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8F725DAA-1E84-4347-BC73-81B7FD2A7E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" y="36000"/>
            <a:ext cx="1847360" cy="828000"/>
          </a:xfrm>
          <a:prstGeom prst="rect">
            <a:avLst/>
          </a:prstGeom>
          <a:noFill/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F7989F08-A276-4B48-B04B-1B1BE3E006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0999" y="1170446"/>
            <a:ext cx="9788342" cy="2387600"/>
          </a:xfrm>
        </p:spPr>
        <p:txBody>
          <a:bodyPr>
            <a:norm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algn="l"/>
            <a:endParaRPr lang="en-US" sz="4800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73B16463-5F58-466A-8027-4C7275167D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1829" y="3039204"/>
            <a:ext cx="9788342" cy="2648350"/>
          </a:xfrm>
        </p:spPr>
        <p:txBody>
          <a:bodyPr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8413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4" y="993"/>
            <a:ext cx="5230538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4929414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498040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01750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2890684"/>
            <a:ext cx="12192000" cy="39673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7" y="1117590"/>
            <a:ext cx="10408581" cy="1655108"/>
          </a:xfrm>
        </p:spPr>
        <p:txBody>
          <a:bodyPr anchor="b"/>
          <a:lstStyle>
            <a:lvl1pPr indent="0">
              <a:defRPr sz="48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Module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488558" y="3178512"/>
            <a:ext cx="10408580" cy="3679487"/>
          </a:xfrm>
        </p:spPr>
        <p:txBody>
          <a:bodyPr>
            <a:normAutofit/>
          </a:bodyPr>
          <a:lstStyle>
            <a:lvl1pPr marL="354013" indent="-354013">
              <a:buFont typeface="Wingdings" panose="05000000000000000000" pitchFamily="2" charset="2"/>
              <a:buChar char="§"/>
              <a:defRPr sz="3200">
                <a:solidFill>
                  <a:srgbClr val="EDC30D"/>
                </a:solidFill>
              </a:defRPr>
            </a:lvl1pPr>
          </a:lstStyle>
          <a:p>
            <a:pPr lvl="0"/>
            <a:r>
              <a:rPr lang="en-US"/>
              <a:t>Module content</a:t>
            </a:r>
          </a:p>
        </p:txBody>
      </p:sp>
    </p:spTree>
    <p:extLst>
      <p:ext uri="{BB962C8B-B14F-4D97-AF65-F5344CB8AC3E}">
        <p14:creationId xmlns:p14="http://schemas.microsoft.com/office/powerpoint/2010/main" val="2201805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>
        <p:tmplLst>
          <p:tmpl>
            <p:tnLst>
              <p:par>
                <p:cTn presetID="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80" dirty="0"/>
          </a:p>
        </p:txBody>
      </p:sp>
    </p:spTree>
    <p:extLst>
      <p:ext uri="{BB962C8B-B14F-4D97-AF65-F5344CB8AC3E}">
        <p14:creationId xmlns:p14="http://schemas.microsoft.com/office/powerpoint/2010/main" val="2563000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498040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507700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73153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200109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493436" y="266655"/>
            <a:ext cx="729216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51687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 dirty="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5421254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 dirty="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06105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losing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plate&#10;&#10;Description automatically generated">
            <a:extLst>
              <a:ext uri="{FF2B5EF4-FFF2-40B4-BE49-F238E27FC236}">
                <a16:creationId xmlns:a16="http://schemas.microsoft.com/office/drawing/2014/main" id="{66FC881D-83BE-4DF4-91B1-42EB97D2339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1E36CE3-C893-42CC-8706-D086D6C9217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162258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entation Closing">
    <p:bg>
      <p:bgPr>
        <a:solidFill>
          <a:srgbClr val="505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A4317677-3B5B-4CD9-96E0-4FC2E698F76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803" y="2701911"/>
            <a:ext cx="3244428" cy="1454176"/>
          </a:xfrm>
          <a:prstGeom prst="rect">
            <a:avLst/>
          </a:prstGeom>
          <a:noFill/>
        </p:spPr>
      </p:pic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5776017A-BD0F-450B-88C6-7A7F987D386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803" y="2689374"/>
            <a:ext cx="3300372" cy="1479251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9466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0" y="0"/>
            <a:ext cx="5230539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4946832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498040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56997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9714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02038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184332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537775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057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01174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70717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94209" y="135289"/>
            <a:ext cx="7597493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107703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+mn-lt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4454815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40535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losing">
    <p:bg>
      <p:bgPr>
        <a:solidFill>
          <a:srgbClr val="F2C81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486" y="2863031"/>
            <a:ext cx="3056653" cy="1112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370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8291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923" r:id="rId2"/>
    <p:sldLayoutId id="2147483919" r:id="rId3"/>
    <p:sldLayoutId id="2147483920" r:id="rId4"/>
    <p:sldLayoutId id="2147483922" r:id="rId5"/>
    <p:sldLayoutId id="2147483928" r:id="rId6"/>
    <p:sldLayoutId id="2147483894" r:id="rId7"/>
    <p:sldLayoutId id="2147483895" r:id="rId8"/>
    <p:sldLayoutId id="2147483876" r:id="rId9"/>
    <p:sldLayoutId id="2147483930" r:id="rId10"/>
    <p:sldLayoutId id="2147483924" r:id="rId11"/>
    <p:sldLayoutId id="2147483929" r:id="rId12"/>
    <p:sldLayoutId id="2147483925" r:id="rId13"/>
    <p:sldLayoutId id="2147483927" r:id="rId14"/>
    <p:sldLayoutId id="2147483965" r:id="rId15"/>
    <p:sldLayoutId id="2147483989" r:id="rId16"/>
    <p:sldLayoutId id="2147484087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3046600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74283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1" r:id="rId1"/>
    <p:sldLayoutId id="2147484072" r:id="rId2"/>
    <p:sldLayoutId id="2147484073" r:id="rId3"/>
    <p:sldLayoutId id="2147484074" r:id="rId4"/>
    <p:sldLayoutId id="2147484075" r:id="rId5"/>
    <p:sldLayoutId id="2147484076" r:id="rId6"/>
    <p:sldLayoutId id="2147484077" r:id="rId7"/>
    <p:sldLayoutId id="2147484078" r:id="rId8"/>
    <p:sldLayoutId id="2147484079" r:id="rId9"/>
    <p:sldLayoutId id="2147484080" r:id="rId10"/>
    <p:sldLayoutId id="2147484081" r:id="rId11"/>
    <p:sldLayoutId id="2147484082" r:id="rId12"/>
    <p:sldLayoutId id="2147484083" r:id="rId13"/>
    <p:sldLayoutId id="2147484084" r:id="rId14"/>
    <p:sldLayoutId id="2147484085" r:id="rId15"/>
    <p:sldLayoutId id="2147484086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1.xml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80999" y="1170446"/>
            <a:ext cx="9788342" cy="2387600"/>
          </a:xfrm>
        </p:spPr>
        <p:txBody>
          <a:bodyPr>
            <a:normAutofit/>
          </a:bodyPr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Power BI </a:t>
            </a:r>
            <a:r>
              <a:rPr lang="en-US" sz="54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option Framework</a:t>
            </a:r>
            <a:endParaRPr lang="en-US" sz="4800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C1E7656-E20F-406F-86AF-94364F7044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1829" y="3039204"/>
            <a:ext cx="9788342" cy="2648350"/>
          </a:xfrm>
        </p:spPr>
        <p:txBody>
          <a:bodyPr>
            <a:normAutofit/>
          </a:bodyPr>
          <a:lstStyle/>
          <a:p>
            <a:r>
              <a:rPr lang="en-US" sz="1800" dirty="0"/>
              <a:t>Empower every decision maker</a:t>
            </a:r>
          </a:p>
          <a:p>
            <a:endParaRPr lang="en-US" sz="1800" dirty="0"/>
          </a:p>
          <a:p>
            <a:r>
              <a:rPr lang="en-US" sz="1800" dirty="0"/>
              <a:t>What to gover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2699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9151">
        <p:fade/>
      </p:transition>
    </mc:Choice>
    <mc:Fallback xmlns="">
      <p:transition spd="med" advTm="19151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What is your organisation’s current state of BI?</a:t>
            </a:r>
            <a:endParaRPr lang="en-US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1BD0DC51-4219-46E5-9245-5EED71183F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482" y="3178513"/>
            <a:ext cx="11587037" cy="3480144"/>
          </a:xfrm>
        </p:spPr>
        <p:txBody>
          <a:bodyPr>
            <a:normAutofit/>
          </a:bodyPr>
          <a:lstStyle/>
          <a:p>
            <a:r>
              <a:rPr lang="en-GB" dirty="0"/>
              <a:t>Actions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Document current technologi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32572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33718">
        <p:fade/>
      </p:transition>
    </mc:Choice>
    <mc:Fallback xmlns="">
      <p:transition spd="med" advTm="33718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1F2367-B799-498D-85FA-A7842ED031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1521" y="3178513"/>
            <a:ext cx="11587037" cy="3493892"/>
          </a:xfrm>
        </p:spPr>
        <p:txBody>
          <a:bodyPr>
            <a:normAutofit/>
          </a:bodyPr>
          <a:lstStyle/>
          <a:p>
            <a:pPr lvl="0">
              <a:lnSpc>
                <a:spcPct val="150000"/>
              </a:lnSpc>
            </a:pPr>
            <a:r>
              <a:rPr lang="en-GB" dirty="0"/>
              <a:t>Consolidate BI Tooling</a:t>
            </a:r>
          </a:p>
          <a:p>
            <a:pPr lvl="0">
              <a:lnSpc>
                <a:spcPct val="150000"/>
              </a:lnSpc>
            </a:pPr>
            <a:r>
              <a:rPr lang="en-GB" dirty="0"/>
              <a:t>Self-Service BI</a:t>
            </a:r>
          </a:p>
          <a:p>
            <a:pPr lvl="0">
              <a:lnSpc>
                <a:spcPct val="150000"/>
              </a:lnSpc>
            </a:pPr>
            <a:r>
              <a:rPr lang="en-GB" dirty="0"/>
              <a:t>Live Dashboard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hat organizational goals do you want to achieve with the roll out of Power BI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5945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3088">
        <p:fade/>
      </p:transition>
    </mc:Choice>
    <mc:Fallback xmlns="">
      <p:transition spd="med" advTm="33088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866" y="1460"/>
            <a:ext cx="5231198" cy="6856055"/>
            <a:chOff x="-618" y="973"/>
            <a:chExt cx="2849058" cy="6857027"/>
          </a:xfrm>
          <a:solidFill>
            <a:srgbClr val="000000"/>
          </a:solidFill>
        </p:grpSpPr>
        <p:sp>
          <p:nvSpPr>
            <p:cNvPr id="5" name="Rectangle 15"/>
            <p:cNvSpPr/>
            <p:nvPr/>
          </p:nvSpPr>
          <p:spPr bwMode="auto">
            <a:xfrm>
              <a:off x="-618" y="973"/>
              <a:ext cx="2849058" cy="685702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0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Freeform 14"/>
            <p:cNvSpPr>
              <a:spLocks/>
            </p:cNvSpPr>
            <p:nvPr/>
          </p:nvSpPr>
          <p:spPr bwMode="auto">
            <a:xfrm rot="9900000">
              <a:off x="281101" y="1213467"/>
              <a:ext cx="172974" cy="172974"/>
            </a:xfrm>
            <a:custGeom>
              <a:avLst/>
              <a:gdLst>
                <a:gd name="T0" fmla="*/ 422 w 422"/>
                <a:gd name="T1" fmla="*/ 220 h 422"/>
                <a:gd name="T2" fmla="*/ 386 w 422"/>
                <a:gd name="T3" fmla="*/ 171 h 422"/>
                <a:gd name="T4" fmla="*/ 341 w 422"/>
                <a:gd name="T5" fmla="*/ 138 h 422"/>
                <a:gd name="T6" fmla="*/ 260 w 422"/>
                <a:gd name="T7" fmla="*/ 180 h 422"/>
                <a:gd name="T8" fmla="*/ 302 w 422"/>
                <a:gd name="T9" fmla="*/ 100 h 422"/>
                <a:gd name="T10" fmla="*/ 269 w 422"/>
                <a:gd name="T11" fmla="*/ 55 h 422"/>
                <a:gd name="T12" fmla="*/ 220 w 422"/>
                <a:gd name="T13" fmla="*/ 18 h 422"/>
                <a:gd name="T14" fmla="*/ 183 w 422"/>
                <a:gd name="T15" fmla="*/ 67 h 422"/>
                <a:gd name="T16" fmla="*/ 138 w 422"/>
                <a:gd name="T17" fmla="*/ 100 h 422"/>
                <a:gd name="T18" fmla="*/ 58 w 422"/>
                <a:gd name="T19" fmla="*/ 58 h 422"/>
                <a:gd name="T20" fmla="*/ 100 w 422"/>
                <a:gd name="T21" fmla="*/ 138 h 422"/>
                <a:gd name="T22" fmla="*/ 67 w 422"/>
                <a:gd name="T23" fmla="*/ 183 h 422"/>
                <a:gd name="T24" fmla="*/ 18 w 422"/>
                <a:gd name="T25" fmla="*/ 220 h 422"/>
                <a:gd name="T26" fmla="*/ 55 w 422"/>
                <a:gd name="T27" fmla="*/ 269 h 422"/>
                <a:gd name="T28" fmla="*/ 100 w 422"/>
                <a:gd name="T29" fmla="*/ 302 h 422"/>
                <a:gd name="T30" fmla="*/ 180 w 422"/>
                <a:gd name="T31" fmla="*/ 260 h 422"/>
                <a:gd name="T32" fmla="*/ 138 w 422"/>
                <a:gd name="T33" fmla="*/ 341 h 422"/>
                <a:gd name="T34" fmla="*/ 171 w 422"/>
                <a:gd name="T35" fmla="*/ 386 h 422"/>
                <a:gd name="T36" fmla="*/ 220 w 422"/>
                <a:gd name="T37" fmla="*/ 422 h 422"/>
                <a:gd name="T38" fmla="*/ 422 w 422"/>
                <a:gd name="T39" fmla="*/ 22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2" h="422">
                  <a:moveTo>
                    <a:pt x="422" y="220"/>
                  </a:moveTo>
                  <a:cubicBezTo>
                    <a:pt x="422" y="220"/>
                    <a:pt x="398" y="183"/>
                    <a:pt x="386" y="171"/>
                  </a:cubicBezTo>
                  <a:cubicBezTo>
                    <a:pt x="373" y="159"/>
                    <a:pt x="349" y="134"/>
                    <a:pt x="341" y="138"/>
                  </a:cubicBezTo>
                  <a:cubicBezTo>
                    <a:pt x="332" y="142"/>
                    <a:pt x="318" y="239"/>
                    <a:pt x="260" y="180"/>
                  </a:cubicBezTo>
                  <a:cubicBezTo>
                    <a:pt x="202" y="122"/>
                    <a:pt x="300" y="110"/>
                    <a:pt x="302" y="100"/>
                  </a:cubicBezTo>
                  <a:cubicBezTo>
                    <a:pt x="304" y="90"/>
                    <a:pt x="281" y="67"/>
                    <a:pt x="269" y="55"/>
                  </a:cubicBezTo>
                  <a:cubicBezTo>
                    <a:pt x="257" y="42"/>
                    <a:pt x="220" y="18"/>
                    <a:pt x="220" y="18"/>
                  </a:cubicBezTo>
                  <a:cubicBezTo>
                    <a:pt x="220" y="18"/>
                    <a:pt x="196" y="55"/>
                    <a:pt x="183" y="67"/>
                  </a:cubicBezTo>
                  <a:cubicBezTo>
                    <a:pt x="171" y="79"/>
                    <a:pt x="149" y="102"/>
                    <a:pt x="138" y="100"/>
                  </a:cubicBezTo>
                  <a:cubicBezTo>
                    <a:pt x="128" y="98"/>
                    <a:pt x="116" y="0"/>
                    <a:pt x="58" y="58"/>
                  </a:cubicBezTo>
                  <a:cubicBezTo>
                    <a:pt x="0" y="116"/>
                    <a:pt x="96" y="130"/>
                    <a:pt x="100" y="138"/>
                  </a:cubicBezTo>
                  <a:cubicBezTo>
                    <a:pt x="104" y="147"/>
                    <a:pt x="79" y="171"/>
                    <a:pt x="67" y="183"/>
                  </a:cubicBezTo>
                  <a:cubicBezTo>
                    <a:pt x="55" y="196"/>
                    <a:pt x="18" y="220"/>
                    <a:pt x="18" y="220"/>
                  </a:cubicBezTo>
                  <a:cubicBezTo>
                    <a:pt x="18" y="220"/>
                    <a:pt x="42" y="257"/>
                    <a:pt x="55" y="269"/>
                  </a:cubicBezTo>
                  <a:cubicBezTo>
                    <a:pt x="67" y="281"/>
                    <a:pt x="91" y="306"/>
                    <a:pt x="100" y="302"/>
                  </a:cubicBezTo>
                  <a:cubicBezTo>
                    <a:pt x="108" y="298"/>
                    <a:pt x="122" y="202"/>
                    <a:pt x="180" y="260"/>
                  </a:cubicBezTo>
                  <a:cubicBezTo>
                    <a:pt x="238" y="318"/>
                    <a:pt x="140" y="330"/>
                    <a:pt x="138" y="341"/>
                  </a:cubicBezTo>
                  <a:cubicBezTo>
                    <a:pt x="136" y="351"/>
                    <a:pt x="159" y="373"/>
                    <a:pt x="171" y="386"/>
                  </a:cubicBezTo>
                  <a:cubicBezTo>
                    <a:pt x="183" y="398"/>
                    <a:pt x="220" y="422"/>
                    <a:pt x="220" y="422"/>
                  </a:cubicBezTo>
                  <a:lnTo>
                    <a:pt x="422" y="2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316244" y="3172634"/>
              <a:ext cx="255342" cy="224444"/>
              <a:chOff x="681704" y="2920137"/>
              <a:chExt cx="321649" cy="282726"/>
            </a:xfrm>
            <a:grpFill/>
          </p:grpSpPr>
          <p:sp>
            <p:nvSpPr>
              <p:cNvPr id="25" name="Freeform 34"/>
              <p:cNvSpPr>
                <a:spLocks/>
              </p:cNvSpPr>
              <p:nvPr/>
            </p:nvSpPr>
            <p:spPr bwMode="auto">
              <a:xfrm>
                <a:off x="681704" y="2920137"/>
                <a:ext cx="270621" cy="210107"/>
              </a:xfrm>
              <a:custGeom>
                <a:avLst/>
                <a:gdLst>
                  <a:gd name="T0" fmla="*/ 270 w 1048"/>
                  <a:gd name="T1" fmla="*/ 104 h 814"/>
                  <a:gd name="T2" fmla="*/ 328 w 1048"/>
                  <a:gd name="T3" fmla="*/ 81 h 814"/>
                  <a:gd name="T4" fmla="*/ 967 w 1048"/>
                  <a:gd name="T5" fmla="*/ 81 h 814"/>
                  <a:gd name="T6" fmla="*/ 967 w 1048"/>
                  <a:gd name="T7" fmla="*/ 142 h 814"/>
                  <a:gd name="T8" fmla="*/ 1048 w 1048"/>
                  <a:gd name="T9" fmla="*/ 142 h 814"/>
                  <a:gd name="T10" fmla="*/ 1048 w 1048"/>
                  <a:gd name="T11" fmla="*/ 0 h 814"/>
                  <a:gd name="T12" fmla="*/ 328 w 1048"/>
                  <a:gd name="T13" fmla="*/ 0 h 814"/>
                  <a:gd name="T14" fmla="*/ 205 w 1048"/>
                  <a:gd name="T15" fmla="*/ 56 h 814"/>
                  <a:gd name="T16" fmla="*/ 38 w 1048"/>
                  <a:gd name="T17" fmla="*/ 318 h 814"/>
                  <a:gd name="T18" fmla="*/ 0 w 1048"/>
                  <a:gd name="T19" fmla="*/ 426 h 814"/>
                  <a:gd name="T20" fmla="*/ 0 w 1048"/>
                  <a:gd name="T21" fmla="*/ 814 h 814"/>
                  <a:gd name="T22" fmla="*/ 240 w 1048"/>
                  <a:gd name="T23" fmla="*/ 814 h 814"/>
                  <a:gd name="T24" fmla="*/ 240 w 1048"/>
                  <a:gd name="T25" fmla="*/ 733 h 814"/>
                  <a:gd name="T26" fmla="*/ 81 w 1048"/>
                  <a:gd name="T27" fmla="*/ 733 h 814"/>
                  <a:gd name="T28" fmla="*/ 81 w 1048"/>
                  <a:gd name="T29" fmla="*/ 426 h 814"/>
                  <a:gd name="T30" fmla="*/ 280 w 1048"/>
                  <a:gd name="T31" fmla="*/ 297 h 814"/>
                  <a:gd name="T32" fmla="*/ 270 w 1048"/>
                  <a:gd name="T33" fmla="*/ 104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48" h="814">
                    <a:moveTo>
                      <a:pt x="270" y="104"/>
                    </a:moveTo>
                    <a:cubicBezTo>
                      <a:pt x="274" y="98"/>
                      <a:pt x="287" y="81"/>
                      <a:pt x="328" y="81"/>
                    </a:cubicBezTo>
                    <a:cubicBezTo>
                      <a:pt x="967" y="81"/>
                      <a:pt x="967" y="81"/>
                      <a:pt x="967" y="81"/>
                    </a:cubicBezTo>
                    <a:cubicBezTo>
                      <a:pt x="967" y="142"/>
                      <a:pt x="967" y="142"/>
                      <a:pt x="967" y="142"/>
                    </a:cubicBezTo>
                    <a:cubicBezTo>
                      <a:pt x="1048" y="142"/>
                      <a:pt x="1048" y="142"/>
                      <a:pt x="1048" y="142"/>
                    </a:cubicBezTo>
                    <a:cubicBezTo>
                      <a:pt x="1048" y="0"/>
                      <a:pt x="1048" y="0"/>
                      <a:pt x="1048" y="0"/>
                    </a:cubicBezTo>
                    <a:cubicBezTo>
                      <a:pt x="328" y="0"/>
                      <a:pt x="328" y="0"/>
                      <a:pt x="328" y="0"/>
                    </a:cubicBezTo>
                    <a:cubicBezTo>
                      <a:pt x="260" y="0"/>
                      <a:pt x="223" y="30"/>
                      <a:pt x="205" y="56"/>
                    </a:cubicBezTo>
                    <a:cubicBezTo>
                      <a:pt x="38" y="318"/>
                      <a:pt x="38" y="318"/>
                      <a:pt x="38" y="318"/>
                    </a:cubicBezTo>
                    <a:cubicBezTo>
                      <a:pt x="19" y="345"/>
                      <a:pt x="0" y="383"/>
                      <a:pt x="0" y="426"/>
                    </a:cubicBezTo>
                    <a:cubicBezTo>
                      <a:pt x="0" y="814"/>
                      <a:pt x="0" y="814"/>
                      <a:pt x="0" y="814"/>
                    </a:cubicBezTo>
                    <a:cubicBezTo>
                      <a:pt x="240" y="814"/>
                      <a:pt x="240" y="814"/>
                      <a:pt x="240" y="814"/>
                    </a:cubicBezTo>
                    <a:cubicBezTo>
                      <a:pt x="240" y="733"/>
                      <a:pt x="240" y="733"/>
                      <a:pt x="240" y="733"/>
                    </a:cubicBezTo>
                    <a:cubicBezTo>
                      <a:pt x="81" y="733"/>
                      <a:pt x="81" y="733"/>
                      <a:pt x="81" y="733"/>
                    </a:cubicBezTo>
                    <a:cubicBezTo>
                      <a:pt x="81" y="426"/>
                      <a:pt x="81" y="426"/>
                      <a:pt x="81" y="426"/>
                    </a:cubicBezTo>
                    <a:cubicBezTo>
                      <a:pt x="81" y="357"/>
                      <a:pt x="213" y="303"/>
                      <a:pt x="280" y="297"/>
                    </a:cubicBezTo>
                    <a:cubicBezTo>
                      <a:pt x="258" y="241"/>
                      <a:pt x="241" y="148"/>
                      <a:pt x="27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" name="Freeform 35"/>
              <p:cNvSpPr>
                <a:spLocks noEditPoints="1"/>
              </p:cNvSpPr>
              <p:nvPr/>
            </p:nvSpPr>
            <p:spPr bwMode="auto">
              <a:xfrm>
                <a:off x="760426" y="2959066"/>
                <a:ext cx="242927" cy="243797"/>
              </a:xfrm>
              <a:custGeom>
                <a:avLst/>
                <a:gdLst>
                  <a:gd name="T0" fmla="*/ 327 w 941"/>
                  <a:gd name="T1" fmla="*/ 277 h 944"/>
                  <a:gd name="T2" fmla="*/ 327 w 941"/>
                  <a:gd name="T3" fmla="*/ 321 h 944"/>
                  <a:gd name="T4" fmla="*/ 344 w 941"/>
                  <a:gd name="T5" fmla="*/ 338 h 944"/>
                  <a:gd name="T6" fmla="*/ 45 w 941"/>
                  <a:gd name="T7" fmla="*/ 510 h 944"/>
                  <a:gd name="T8" fmla="*/ 44 w 941"/>
                  <a:gd name="T9" fmla="*/ 547 h 944"/>
                  <a:gd name="T10" fmla="*/ 0 w 941"/>
                  <a:gd name="T11" fmla="*/ 640 h 944"/>
                  <a:gd name="T12" fmla="*/ 72 w 941"/>
                  <a:gd name="T13" fmla="*/ 596 h 944"/>
                  <a:gd name="T14" fmla="*/ 87 w 941"/>
                  <a:gd name="T15" fmla="*/ 595 h 944"/>
                  <a:gd name="T16" fmla="*/ 414 w 941"/>
                  <a:gd name="T17" fmla="*/ 408 h 944"/>
                  <a:gd name="T18" fmla="*/ 449 w 941"/>
                  <a:gd name="T19" fmla="*/ 443 h 944"/>
                  <a:gd name="T20" fmla="*/ 443 w 941"/>
                  <a:gd name="T21" fmla="*/ 449 h 944"/>
                  <a:gd name="T22" fmla="*/ 443 w 941"/>
                  <a:gd name="T23" fmla="*/ 502 h 944"/>
                  <a:gd name="T24" fmla="*/ 496 w 941"/>
                  <a:gd name="T25" fmla="*/ 502 h 944"/>
                  <a:gd name="T26" fmla="*/ 502 w 941"/>
                  <a:gd name="T27" fmla="*/ 496 h 944"/>
                  <a:gd name="T28" fmla="*/ 536 w 941"/>
                  <a:gd name="T29" fmla="*/ 530 h 944"/>
                  <a:gd name="T30" fmla="*/ 349 w 941"/>
                  <a:gd name="T31" fmla="*/ 855 h 944"/>
                  <a:gd name="T32" fmla="*/ 348 w 941"/>
                  <a:gd name="T33" fmla="*/ 872 h 944"/>
                  <a:gd name="T34" fmla="*/ 304 w 941"/>
                  <a:gd name="T35" fmla="*/ 944 h 944"/>
                  <a:gd name="T36" fmla="*/ 396 w 941"/>
                  <a:gd name="T37" fmla="*/ 899 h 944"/>
                  <a:gd name="T38" fmla="*/ 433 w 941"/>
                  <a:gd name="T39" fmla="*/ 899 h 944"/>
                  <a:gd name="T40" fmla="*/ 605 w 941"/>
                  <a:gd name="T41" fmla="*/ 599 h 944"/>
                  <a:gd name="T42" fmla="*/ 624 w 941"/>
                  <a:gd name="T43" fmla="*/ 618 h 944"/>
                  <a:gd name="T44" fmla="*/ 668 w 941"/>
                  <a:gd name="T45" fmla="*/ 618 h 944"/>
                  <a:gd name="T46" fmla="*/ 668 w 941"/>
                  <a:gd name="T47" fmla="*/ 575 h 944"/>
                  <a:gd name="T48" fmla="*/ 637 w 941"/>
                  <a:gd name="T49" fmla="*/ 544 h 944"/>
                  <a:gd name="T50" fmla="*/ 747 w 941"/>
                  <a:gd name="T51" fmla="*/ 353 h 944"/>
                  <a:gd name="T52" fmla="*/ 843 w 941"/>
                  <a:gd name="T53" fmla="*/ 310 h 944"/>
                  <a:gd name="T54" fmla="*/ 866 w 941"/>
                  <a:gd name="T55" fmla="*/ 132 h 944"/>
                  <a:gd name="T56" fmla="*/ 927 w 941"/>
                  <a:gd name="T57" fmla="*/ 71 h 944"/>
                  <a:gd name="T58" fmla="*/ 927 w 941"/>
                  <a:gd name="T59" fmla="*/ 18 h 944"/>
                  <a:gd name="T60" fmla="*/ 874 w 941"/>
                  <a:gd name="T61" fmla="*/ 18 h 944"/>
                  <a:gd name="T62" fmla="*/ 813 w 941"/>
                  <a:gd name="T63" fmla="*/ 79 h 944"/>
                  <a:gd name="T64" fmla="*/ 635 w 941"/>
                  <a:gd name="T65" fmla="*/ 102 h 944"/>
                  <a:gd name="T66" fmla="*/ 592 w 941"/>
                  <a:gd name="T67" fmla="*/ 196 h 944"/>
                  <a:gd name="T68" fmla="*/ 400 w 941"/>
                  <a:gd name="T69" fmla="*/ 306 h 944"/>
                  <a:gd name="T70" fmla="*/ 370 w 941"/>
                  <a:gd name="T71" fmla="*/ 277 h 944"/>
                  <a:gd name="T72" fmla="*/ 327 w 941"/>
                  <a:gd name="T73" fmla="*/ 277 h 944"/>
                  <a:gd name="T74" fmla="*/ 500 w 941"/>
                  <a:gd name="T75" fmla="*/ 393 h 944"/>
                  <a:gd name="T76" fmla="*/ 493 w 941"/>
                  <a:gd name="T77" fmla="*/ 399 h 944"/>
                  <a:gd name="T78" fmla="*/ 470 w 941"/>
                  <a:gd name="T79" fmla="*/ 376 h 944"/>
                  <a:gd name="T80" fmla="*/ 618 w 941"/>
                  <a:gd name="T81" fmla="*/ 290 h 944"/>
                  <a:gd name="T82" fmla="*/ 635 w 941"/>
                  <a:gd name="T83" fmla="*/ 310 h 944"/>
                  <a:gd name="T84" fmla="*/ 653 w 941"/>
                  <a:gd name="T85" fmla="*/ 325 h 944"/>
                  <a:gd name="T86" fmla="*/ 568 w 941"/>
                  <a:gd name="T87" fmla="*/ 474 h 944"/>
                  <a:gd name="T88" fmla="*/ 546 w 941"/>
                  <a:gd name="T89" fmla="*/ 452 h 944"/>
                  <a:gd name="T90" fmla="*/ 552 w 941"/>
                  <a:gd name="T91" fmla="*/ 445 h 944"/>
                  <a:gd name="T92" fmla="*/ 552 w 941"/>
                  <a:gd name="T93" fmla="*/ 393 h 944"/>
                  <a:gd name="T94" fmla="*/ 500 w 941"/>
                  <a:gd name="T95" fmla="*/ 393 h 944"/>
                  <a:gd name="T96" fmla="*/ 739 w 941"/>
                  <a:gd name="T97" fmla="*/ 270 h 944"/>
                  <a:gd name="T98" fmla="*/ 675 w 941"/>
                  <a:gd name="T99" fmla="*/ 206 h 944"/>
                  <a:gd name="T100" fmla="*/ 739 w 941"/>
                  <a:gd name="T101" fmla="*/ 142 h 944"/>
                  <a:gd name="T102" fmla="*/ 803 w 941"/>
                  <a:gd name="T103" fmla="*/ 206 h 944"/>
                  <a:gd name="T104" fmla="*/ 739 w 941"/>
                  <a:gd name="T105" fmla="*/ 270 h 9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41" h="944">
                    <a:moveTo>
                      <a:pt x="327" y="277"/>
                    </a:moveTo>
                    <a:cubicBezTo>
                      <a:pt x="314" y="289"/>
                      <a:pt x="314" y="308"/>
                      <a:pt x="327" y="321"/>
                    </a:cubicBezTo>
                    <a:cubicBezTo>
                      <a:pt x="344" y="338"/>
                      <a:pt x="344" y="338"/>
                      <a:pt x="344" y="338"/>
                    </a:cubicBezTo>
                    <a:cubicBezTo>
                      <a:pt x="45" y="510"/>
                      <a:pt x="45" y="510"/>
                      <a:pt x="45" y="510"/>
                    </a:cubicBezTo>
                    <a:cubicBezTo>
                      <a:pt x="44" y="547"/>
                      <a:pt x="44" y="547"/>
                      <a:pt x="44" y="547"/>
                    </a:cubicBezTo>
                    <a:cubicBezTo>
                      <a:pt x="0" y="640"/>
                      <a:pt x="0" y="640"/>
                      <a:pt x="0" y="640"/>
                    </a:cubicBezTo>
                    <a:cubicBezTo>
                      <a:pt x="72" y="596"/>
                      <a:pt x="72" y="596"/>
                      <a:pt x="72" y="596"/>
                    </a:cubicBezTo>
                    <a:cubicBezTo>
                      <a:pt x="87" y="595"/>
                      <a:pt x="87" y="595"/>
                      <a:pt x="87" y="595"/>
                    </a:cubicBezTo>
                    <a:cubicBezTo>
                      <a:pt x="414" y="408"/>
                      <a:pt x="414" y="408"/>
                      <a:pt x="414" y="408"/>
                    </a:cubicBezTo>
                    <a:cubicBezTo>
                      <a:pt x="449" y="443"/>
                      <a:pt x="449" y="443"/>
                      <a:pt x="449" y="443"/>
                    </a:cubicBezTo>
                    <a:cubicBezTo>
                      <a:pt x="443" y="449"/>
                      <a:pt x="443" y="449"/>
                      <a:pt x="443" y="449"/>
                    </a:cubicBezTo>
                    <a:cubicBezTo>
                      <a:pt x="429" y="464"/>
                      <a:pt x="429" y="487"/>
                      <a:pt x="443" y="502"/>
                    </a:cubicBezTo>
                    <a:cubicBezTo>
                      <a:pt x="455" y="514"/>
                      <a:pt x="478" y="519"/>
                      <a:pt x="496" y="502"/>
                    </a:cubicBezTo>
                    <a:cubicBezTo>
                      <a:pt x="502" y="496"/>
                      <a:pt x="502" y="496"/>
                      <a:pt x="502" y="496"/>
                    </a:cubicBezTo>
                    <a:cubicBezTo>
                      <a:pt x="536" y="530"/>
                      <a:pt x="536" y="530"/>
                      <a:pt x="536" y="530"/>
                    </a:cubicBezTo>
                    <a:cubicBezTo>
                      <a:pt x="349" y="855"/>
                      <a:pt x="349" y="855"/>
                      <a:pt x="349" y="855"/>
                    </a:cubicBezTo>
                    <a:cubicBezTo>
                      <a:pt x="348" y="872"/>
                      <a:pt x="348" y="872"/>
                      <a:pt x="348" y="872"/>
                    </a:cubicBezTo>
                    <a:cubicBezTo>
                      <a:pt x="304" y="944"/>
                      <a:pt x="304" y="944"/>
                      <a:pt x="304" y="944"/>
                    </a:cubicBezTo>
                    <a:cubicBezTo>
                      <a:pt x="396" y="899"/>
                      <a:pt x="396" y="899"/>
                      <a:pt x="396" y="899"/>
                    </a:cubicBezTo>
                    <a:cubicBezTo>
                      <a:pt x="433" y="899"/>
                      <a:pt x="433" y="899"/>
                      <a:pt x="433" y="899"/>
                    </a:cubicBezTo>
                    <a:cubicBezTo>
                      <a:pt x="605" y="599"/>
                      <a:pt x="605" y="599"/>
                      <a:pt x="605" y="599"/>
                    </a:cubicBezTo>
                    <a:cubicBezTo>
                      <a:pt x="624" y="618"/>
                      <a:pt x="624" y="618"/>
                      <a:pt x="624" y="618"/>
                    </a:cubicBezTo>
                    <a:cubicBezTo>
                      <a:pt x="632" y="627"/>
                      <a:pt x="653" y="634"/>
                      <a:pt x="668" y="618"/>
                    </a:cubicBezTo>
                    <a:cubicBezTo>
                      <a:pt x="680" y="606"/>
                      <a:pt x="680" y="587"/>
                      <a:pt x="668" y="575"/>
                    </a:cubicBezTo>
                    <a:cubicBezTo>
                      <a:pt x="637" y="544"/>
                      <a:pt x="637" y="544"/>
                      <a:pt x="637" y="544"/>
                    </a:cubicBezTo>
                    <a:cubicBezTo>
                      <a:pt x="747" y="353"/>
                      <a:pt x="747" y="353"/>
                      <a:pt x="747" y="353"/>
                    </a:cubicBezTo>
                    <a:cubicBezTo>
                      <a:pt x="782" y="351"/>
                      <a:pt x="816" y="337"/>
                      <a:pt x="843" y="310"/>
                    </a:cubicBezTo>
                    <a:cubicBezTo>
                      <a:pt x="891" y="262"/>
                      <a:pt x="899" y="188"/>
                      <a:pt x="866" y="132"/>
                    </a:cubicBezTo>
                    <a:cubicBezTo>
                      <a:pt x="927" y="71"/>
                      <a:pt x="927" y="71"/>
                      <a:pt x="927" y="71"/>
                    </a:cubicBezTo>
                    <a:cubicBezTo>
                      <a:pt x="941" y="56"/>
                      <a:pt x="941" y="33"/>
                      <a:pt x="927" y="18"/>
                    </a:cubicBezTo>
                    <a:cubicBezTo>
                      <a:pt x="908" y="0"/>
                      <a:pt x="883" y="9"/>
                      <a:pt x="874" y="18"/>
                    </a:cubicBezTo>
                    <a:cubicBezTo>
                      <a:pt x="813" y="79"/>
                      <a:pt x="813" y="79"/>
                      <a:pt x="813" y="79"/>
                    </a:cubicBezTo>
                    <a:cubicBezTo>
                      <a:pt x="758" y="47"/>
                      <a:pt x="685" y="54"/>
                      <a:pt x="635" y="102"/>
                    </a:cubicBezTo>
                    <a:cubicBezTo>
                      <a:pt x="608" y="127"/>
                      <a:pt x="595" y="162"/>
                      <a:pt x="592" y="196"/>
                    </a:cubicBezTo>
                    <a:cubicBezTo>
                      <a:pt x="400" y="306"/>
                      <a:pt x="400" y="306"/>
                      <a:pt x="400" y="306"/>
                    </a:cubicBezTo>
                    <a:cubicBezTo>
                      <a:pt x="370" y="277"/>
                      <a:pt x="370" y="277"/>
                      <a:pt x="370" y="277"/>
                    </a:cubicBezTo>
                    <a:cubicBezTo>
                      <a:pt x="359" y="267"/>
                      <a:pt x="341" y="263"/>
                      <a:pt x="327" y="277"/>
                    </a:cubicBezTo>
                    <a:close/>
                    <a:moveTo>
                      <a:pt x="500" y="393"/>
                    </a:moveTo>
                    <a:cubicBezTo>
                      <a:pt x="493" y="399"/>
                      <a:pt x="493" y="399"/>
                      <a:pt x="493" y="399"/>
                    </a:cubicBezTo>
                    <a:cubicBezTo>
                      <a:pt x="470" y="376"/>
                      <a:pt x="470" y="376"/>
                      <a:pt x="470" y="376"/>
                    </a:cubicBezTo>
                    <a:cubicBezTo>
                      <a:pt x="618" y="290"/>
                      <a:pt x="618" y="290"/>
                      <a:pt x="618" y="290"/>
                    </a:cubicBezTo>
                    <a:cubicBezTo>
                      <a:pt x="623" y="297"/>
                      <a:pt x="629" y="304"/>
                      <a:pt x="635" y="310"/>
                    </a:cubicBezTo>
                    <a:cubicBezTo>
                      <a:pt x="641" y="316"/>
                      <a:pt x="647" y="321"/>
                      <a:pt x="653" y="325"/>
                    </a:cubicBezTo>
                    <a:cubicBezTo>
                      <a:pt x="568" y="474"/>
                      <a:pt x="568" y="474"/>
                      <a:pt x="568" y="474"/>
                    </a:cubicBezTo>
                    <a:cubicBezTo>
                      <a:pt x="546" y="452"/>
                      <a:pt x="546" y="452"/>
                      <a:pt x="546" y="452"/>
                    </a:cubicBezTo>
                    <a:cubicBezTo>
                      <a:pt x="552" y="445"/>
                      <a:pt x="552" y="445"/>
                      <a:pt x="552" y="445"/>
                    </a:cubicBezTo>
                    <a:cubicBezTo>
                      <a:pt x="567" y="431"/>
                      <a:pt x="567" y="407"/>
                      <a:pt x="552" y="393"/>
                    </a:cubicBezTo>
                    <a:cubicBezTo>
                      <a:pt x="535" y="376"/>
                      <a:pt x="513" y="380"/>
                      <a:pt x="500" y="393"/>
                    </a:cubicBezTo>
                    <a:close/>
                    <a:moveTo>
                      <a:pt x="739" y="270"/>
                    </a:moveTo>
                    <a:cubicBezTo>
                      <a:pt x="703" y="270"/>
                      <a:pt x="675" y="241"/>
                      <a:pt x="675" y="206"/>
                    </a:cubicBezTo>
                    <a:cubicBezTo>
                      <a:pt x="675" y="171"/>
                      <a:pt x="703" y="142"/>
                      <a:pt x="739" y="142"/>
                    </a:cubicBezTo>
                    <a:cubicBezTo>
                      <a:pt x="774" y="142"/>
                      <a:pt x="803" y="171"/>
                      <a:pt x="803" y="206"/>
                    </a:cubicBezTo>
                    <a:cubicBezTo>
                      <a:pt x="803" y="241"/>
                      <a:pt x="774" y="270"/>
                      <a:pt x="73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8" name="Group 379"/>
            <p:cNvGrpSpPr/>
            <p:nvPr/>
          </p:nvGrpSpPr>
          <p:grpSpPr>
            <a:xfrm>
              <a:off x="313305" y="4124026"/>
              <a:ext cx="276799" cy="192696"/>
              <a:chOff x="3543365" y="7242824"/>
              <a:chExt cx="1238250" cy="862020"/>
            </a:xfrm>
            <a:grpFill/>
          </p:grpSpPr>
          <p:sp>
            <p:nvSpPr>
              <p:cNvPr id="9" name="Freeform 127"/>
              <p:cNvSpPr>
                <a:spLocks/>
              </p:cNvSpPr>
              <p:nvPr/>
            </p:nvSpPr>
            <p:spPr bwMode="auto">
              <a:xfrm>
                <a:off x="3617978" y="7911159"/>
                <a:ext cx="231778" cy="193672"/>
              </a:xfrm>
              <a:custGeom>
                <a:avLst/>
                <a:gdLst>
                  <a:gd name="T0" fmla="*/ 0 w 146"/>
                  <a:gd name="T1" fmla="*/ 8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120 w 146"/>
                  <a:gd name="T9" fmla="*/ 0 h 122"/>
                  <a:gd name="T10" fmla="*/ 0 w 146"/>
                  <a:gd name="T11" fmla="*/ 8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8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120" y="0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" name="Freeform 128"/>
              <p:cNvSpPr>
                <a:spLocks/>
              </p:cNvSpPr>
              <p:nvPr/>
            </p:nvSpPr>
            <p:spPr bwMode="auto">
              <a:xfrm>
                <a:off x="3617978" y="7688905"/>
                <a:ext cx="231778" cy="192087"/>
              </a:xfrm>
              <a:custGeom>
                <a:avLst/>
                <a:gdLst>
                  <a:gd name="T0" fmla="*/ 146 w 146"/>
                  <a:gd name="T1" fmla="*/ 0 h 121"/>
                  <a:gd name="T2" fmla="*/ 0 w 146"/>
                  <a:gd name="T3" fmla="*/ 0 h 121"/>
                  <a:gd name="T4" fmla="*/ 0 w 146"/>
                  <a:gd name="T5" fmla="*/ 121 h 121"/>
                  <a:gd name="T6" fmla="*/ 146 w 146"/>
                  <a:gd name="T7" fmla="*/ 19 h 121"/>
                  <a:gd name="T8" fmla="*/ 146 w 146"/>
                  <a:gd name="T9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121">
                    <a:moveTo>
                      <a:pt x="146" y="0"/>
                    </a:moveTo>
                    <a:lnTo>
                      <a:pt x="0" y="0"/>
                    </a:lnTo>
                    <a:lnTo>
                      <a:pt x="0" y="121"/>
                    </a:lnTo>
                    <a:lnTo>
                      <a:pt x="146" y="19"/>
                    </a:lnTo>
                    <a:lnTo>
                      <a:pt x="14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1" name="Rectangle 129"/>
              <p:cNvSpPr>
                <a:spLocks noChangeArrowheads="1"/>
              </p:cNvSpPr>
              <p:nvPr/>
            </p:nvSpPr>
            <p:spPr bwMode="auto">
              <a:xfrm>
                <a:off x="3617978" y="7466657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" name="Rectangle 130"/>
              <p:cNvSpPr>
                <a:spLocks noChangeArrowheads="1"/>
              </p:cNvSpPr>
              <p:nvPr/>
            </p:nvSpPr>
            <p:spPr bwMode="auto">
              <a:xfrm>
                <a:off x="3617978" y="7242824"/>
                <a:ext cx="231778" cy="19526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" name="Freeform 131"/>
              <p:cNvSpPr>
                <a:spLocks/>
              </p:cNvSpPr>
              <p:nvPr/>
            </p:nvSpPr>
            <p:spPr bwMode="auto">
              <a:xfrm>
                <a:off x="3895793" y="7911172"/>
                <a:ext cx="230186" cy="193672"/>
              </a:xfrm>
              <a:custGeom>
                <a:avLst/>
                <a:gdLst>
                  <a:gd name="T0" fmla="*/ 0 w 250"/>
                  <a:gd name="T1" fmla="*/ 210 h 210"/>
                  <a:gd name="T2" fmla="*/ 250 w 250"/>
                  <a:gd name="T3" fmla="*/ 210 h 210"/>
                  <a:gd name="T4" fmla="*/ 250 w 250"/>
                  <a:gd name="T5" fmla="*/ 3 h 210"/>
                  <a:gd name="T6" fmla="*/ 249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" h="210">
                    <a:moveTo>
                      <a:pt x="0" y="210"/>
                    </a:move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3"/>
                      <a:pt x="250" y="3"/>
                      <a:pt x="250" y="3"/>
                    </a:cubicBezTo>
                    <a:cubicBezTo>
                      <a:pt x="250" y="2"/>
                      <a:pt x="249" y="1"/>
                      <a:pt x="249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" name="Freeform 132"/>
              <p:cNvSpPr>
                <a:spLocks/>
              </p:cNvSpPr>
              <p:nvPr/>
            </p:nvSpPr>
            <p:spPr bwMode="auto">
              <a:xfrm>
                <a:off x="4125979" y="7688918"/>
                <a:ext cx="0" cy="6353"/>
              </a:xfrm>
              <a:custGeom>
                <a:avLst/>
                <a:gdLst>
                  <a:gd name="T0" fmla="*/ 1 w 1"/>
                  <a:gd name="T1" fmla="*/ 0 h 8"/>
                  <a:gd name="T2" fmla="*/ 0 w 1"/>
                  <a:gd name="T3" fmla="*/ 0 h 8"/>
                  <a:gd name="T4" fmla="*/ 1 w 1"/>
                  <a:gd name="T5" fmla="*/ 8 h 8"/>
                  <a:gd name="T6" fmla="*/ 1 w 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" name="Freeform 133"/>
              <p:cNvSpPr>
                <a:spLocks/>
              </p:cNvSpPr>
              <p:nvPr/>
            </p:nvSpPr>
            <p:spPr bwMode="auto">
              <a:xfrm>
                <a:off x="3895793" y="7812745"/>
                <a:ext cx="219078" cy="69852"/>
              </a:xfrm>
              <a:custGeom>
                <a:avLst/>
                <a:gdLst>
                  <a:gd name="T0" fmla="*/ 186 w 238"/>
                  <a:gd name="T1" fmla="*/ 9 h 76"/>
                  <a:gd name="T2" fmla="*/ 131 w 238"/>
                  <a:gd name="T3" fmla="*/ 22 h 76"/>
                  <a:gd name="T4" fmla="*/ 60 w 238"/>
                  <a:gd name="T5" fmla="*/ 0 h 76"/>
                  <a:gd name="T6" fmla="*/ 0 w 238"/>
                  <a:gd name="T7" fmla="*/ 42 h 76"/>
                  <a:gd name="T8" fmla="*/ 0 w 238"/>
                  <a:gd name="T9" fmla="*/ 76 h 76"/>
                  <a:gd name="T10" fmla="*/ 238 w 238"/>
                  <a:gd name="T11" fmla="*/ 76 h 76"/>
                  <a:gd name="T12" fmla="*/ 236 w 238"/>
                  <a:gd name="T13" fmla="*/ 53 h 76"/>
                  <a:gd name="T14" fmla="*/ 236 w 238"/>
                  <a:gd name="T15" fmla="*/ 49 h 76"/>
                  <a:gd name="T16" fmla="*/ 186 w 238"/>
                  <a:gd name="T17" fmla="*/ 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8" h="76">
                    <a:moveTo>
                      <a:pt x="186" y="9"/>
                    </a:moveTo>
                    <a:cubicBezTo>
                      <a:pt x="169" y="18"/>
                      <a:pt x="150" y="22"/>
                      <a:pt x="131" y="22"/>
                    </a:cubicBezTo>
                    <a:cubicBezTo>
                      <a:pt x="105" y="22"/>
                      <a:pt x="80" y="14"/>
                      <a:pt x="60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38" y="76"/>
                      <a:pt x="238" y="76"/>
                      <a:pt x="238" y="76"/>
                    </a:cubicBezTo>
                    <a:cubicBezTo>
                      <a:pt x="237" y="68"/>
                      <a:pt x="236" y="61"/>
                      <a:pt x="236" y="53"/>
                    </a:cubicBezTo>
                    <a:cubicBezTo>
                      <a:pt x="236" y="51"/>
                      <a:pt x="236" y="50"/>
                      <a:pt x="236" y="49"/>
                    </a:cubicBezTo>
                    <a:lnTo>
                      <a:pt x="18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" name="Freeform 134"/>
              <p:cNvSpPr>
                <a:spLocks/>
              </p:cNvSpPr>
              <p:nvPr/>
            </p:nvSpPr>
            <p:spPr bwMode="auto">
              <a:xfrm>
                <a:off x="3895793" y="7466670"/>
                <a:ext cx="230186" cy="193672"/>
              </a:xfrm>
              <a:custGeom>
                <a:avLst/>
                <a:gdLst>
                  <a:gd name="T0" fmla="*/ 131 w 250"/>
                  <a:gd name="T1" fmla="*/ 153 h 210"/>
                  <a:gd name="T2" fmla="*/ 235 w 250"/>
                  <a:gd name="T3" fmla="*/ 210 h 210"/>
                  <a:gd name="T4" fmla="*/ 250 w 250"/>
                  <a:gd name="T5" fmla="*/ 210 h 210"/>
                  <a:gd name="T6" fmla="*/ 250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  <a:gd name="T12" fmla="*/ 27 w 250"/>
                  <a:gd name="T13" fmla="*/ 210 h 210"/>
                  <a:gd name="T14" fmla="*/ 131 w 250"/>
                  <a:gd name="T15" fmla="*/ 153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10">
                    <a:moveTo>
                      <a:pt x="131" y="153"/>
                    </a:moveTo>
                    <a:cubicBezTo>
                      <a:pt x="175" y="153"/>
                      <a:pt x="213" y="176"/>
                      <a:pt x="235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7" y="210"/>
                      <a:pt x="27" y="210"/>
                      <a:pt x="27" y="210"/>
                    </a:cubicBezTo>
                    <a:cubicBezTo>
                      <a:pt x="49" y="175"/>
                      <a:pt x="88" y="153"/>
                      <a:pt x="131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" name="Freeform 135"/>
              <p:cNvSpPr>
                <a:spLocks/>
              </p:cNvSpPr>
              <p:nvPr/>
            </p:nvSpPr>
            <p:spPr bwMode="auto">
              <a:xfrm>
                <a:off x="4173601" y="7911166"/>
                <a:ext cx="230186" cy="193672"/>
              </a:xfrm>
              <a:custGeom>
                <a:avLst/>
                <a:gdLst>
                  <a:gd name="T0" fmla="*/ 58 w 250"/>
                  <a:gd name="T1" fmla="*/ 69 h 210"/>
                  <a:gd name="T2" fmla="*/ 0 w 250"/>
                  <a:gd name="T3" fmla="*/ 54 h 210"/>
                  <a:gd name="T4" fmla="*/ 0 w 250"/>
                  <a:gd name="T5" fmla="*/ 210 h 210"/>
                  <a:gd name="T6" fmla="*/ 250 w 250"/>
                  <a:gd name="T7" fmla="*/ 210 h 210"/>
                  <a:gd name="T8" fmla="*/ 250 w 250"/>
                  <a:gd name="T9" fmla="*/ 0 h 210"/>
                  <a:gd name="T10" fmla="*/ 168 w 250"/>
                  <a:gd name="T11" fmla="*/ 0 h 210"/>
                  <a:gd name="T12" fmla="*/ 58 w 250"/>
                  <a:gd name="T13" fmla="*/ 69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0" h="210">
                    <a:moveTo>
                      <a:pt x="58" y="69"/>
                    </a:moveTo>
                    <a:cubicBezTo>
                      <a:pt x="37" y="69"/>
                      <a:pt x="17" y="63"/>
                      <a:pt x="0" y="54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48" y="41"/>
                      <a:pt x="106" y="69"/>
                      <a:pt x="58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" name="Freeform 136"/>
              <p:cNvSpPr>
                <a:spLocks/>
              </p:cNvSpPr>
              <p:nvPr/>
            </p:nvSpPr>
            <p:spPr bwMode="auto">
              <a:xfrm>
                <a:off x="4173601" y="7688911"/>
                <a:ext cx="168273" cy="63498"/>
              </a:xfrm>
              <a:custGeom>
                <a:avLst/>
                <a:gdLst>
                  <a:gd name="T0" fmla="*/ 92 w 183"/>
                  <a:gd name="T1" fmla="*/ 70 h 70"/>
                  <a:gd name="T2" fmla="*/ 183 w 183"/>
                  <a:gd name="T3" fmla="*/ 0 h 70"/>
                  <a:gd name="T4" fmla="*/ 0 w 183"/>
                  <a:gd name="T5" fmla="*/ 0 h 70"/>
                  <a:gd name="T6" fmla="*/ 0 w 183"/>
                  <a:gd name="T7" fmla="*/ 49 h 70"/>
                  <a:gd name="T8" fmla="*/ 25 w 183"/>
                  <a:gd name="T9" fmla="*/ 69 h 70"/>
                  <a:gd name="T10" fmla="*/ 92 w 183"/>
                  <a:gd name="T11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3" h="70">
                    <a:moveTo>
                      <a:pt x="92" y="70"/>
                    </a:moveTo>
                    <a:cubicBezTo>
                      <a:pt x="183" y="0"/>
                      <a:pt x="183" y="0"/>
                      <a:pt x="18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25" y="69"/>
                      <a:pt x="25" y="69"/>
                      <a:pt x="25" y="69"/>
                    </a:cubicBezTo>
                    <a:cubicBezTo>
                      <a:pt x="47" y="63"/>
                      <a:pt x="71" y="64"/>
                      <a:pt x="92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" name="Freeform 137"/>
              <p:cNvSpPr>
                <a:spLocks/>
              </p:cNvSpPr>
              <p:nvPr/>
            </p:nvSpPr>
            <p:spPr bwMode="auto">
              <a:xfrm>
                <a:off x="4338704" y="7809561"/>
                <a:ext cx="65090" cy="73028"/>
              </a:xfrm>
              <a:custGeom>
                <a:avLst/>
                <a:gdLst>
                  <a:gd name="T0" fmla="*/ 71 w 71"/>
                  <a:gd name="T1" fmla="*/ 79 h 79"/>
                  <a:gd name="T2" fmla="*/ 71 w 71"/>
                  <a:gd name="T3" fmla="*/ 0 h 79"/>
                  <a:gd name="T4" fmla="*/ 2 w 71"/>
                  <a:gd name="T5" fmla="*/ 53 h 79"/>
                  <a:gd name="T6" fmla="*/ 2 w 71"/>
                  <a:gd name="T7" fmla="*/ 56 h 79"/>
                  <a:gd name="T8" fmla="*/ 0 w 71"/>
                  <a:gd name="T9" fmla="*/ 79 h 79"/>
                  <a:gd name="T10" fmla="*/ 71 w 71"/>
                  <a:gd name="T11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79">
                    <a:moveTo>
                      <a:pt x="71" y="79"/>
                    </a:moveTo>
                    <a:cubicBezTo>
                      <a:pt x="71" y="0"/>
                      <a:pt x="71" y="0"/>
                      <a:pt x="71" y="0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4"/>
                      <a:pt x="2" y="55"/>
                      <a:pt x="2" y="56"/>
                    </a:cubicBezTo>
                    <a:cubicBezTo>
                      <a:pt x="2" y="64"/>
                      <a:pt x="1" y="71"/>
                      <a:pt x="0" y="79"/>
                    </a:cubicBezTo>
                    <a:lnTo>
                      <a:pt x="71" y="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" name="Rectangle 138"/>
              <p:cNvSpPr>
                <a:spLocks noChangeArrowheads="1"/>
              </p:cNvSpPr>
              <p:nvPr/>
            </p:nvSpPr>
            <p:spPr bwMode="auto">
              <a:xfrm>
                <a:off x="4449825" y="7911159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" name="Freeform 139"/>
              <p:cNvSpPr>
                <a:spLocks/>
              </p:cNvSpPr>
              <p:nvPr/>
            </p:nvSpPr>
            <p:spPr bwMode="auto">
              <a:xfrm>
                <a:off x="4449825" y="7688904"/>
                <a:ext cx="231778" cy="193672"/>
              </a:xfrm>
              <a:custGeom>
                <a:avLst/>
                <a:gdLst>
                  <a:gd name="T0" fmla="*/ 0 w 146"/>
                  <a:gd name="T1" fmla="*/ 5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72 w 146"/>
                  <a:gd name="T9" fmla="*/ 0 h 122"/>
                  <a:gd name="T10" fmla="*/ 0 w 146"/>
                  <a:gd name="T11" fmla="*/ 5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5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72" y="0"/>
                    </a:lnTo>
                    <a:lnTo>
                      <a:pt x="0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" name="Freeform 140"/>
              <p:cNvSpPr>
                <a:spLocks/>
              </p:cNvSpPr>
              <p:nvPr/>
            </p:nvSpPr>
            <p:spPr bwMode="auto">
              <a:xfrm>
                <a:off x="4600643" y="7622229"/>
                <a:ext cx="80960" cy="38099"/>
              </a:xfrm>
              <a:custGeom>
                <a:avLst/>
                <a:gdLst>
                  <a:gd name="T0" fmla="*/ 0 w 51"/>
                  <a:gd name="T1" fmla="*/ 24 h 24"/>
                  <a:gd name="T2" fmla="*/ 51 w 51"/>
                  <a:gd name="T3" fmla="*/ 24 h 24"/>
                  <a:gd name="T4" fmla="*/ 32 w 51"/>
                  <a:gd name="T5" fmla="*/ 0 h 24"/>
                  <a:gd name="T6" fmla="*/ 0 w 51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24">
                    <a:moveTo>
                      <a:pt x="0" y="24"/>
                    </a:moveTo>
                    <a:lnTo>
                      <a:pt x="51" y="24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" name="Freeform 141"/>
              <p:cNvSpPr>
                <a:spLocks/>
              </p:cNvSpPr>
              <p:nvPr/>
            </p:nvSpPr>
            <p:spPr bwMode="auto">
              <a:xfrm>
                <a:off x="4449825" y="7466656"/>
                <a:ext cx="119065" cy="139703"/>
              </a:xfrm>
              <a:custGeom>
                <a:avLst/>
                <a:gdLst>
                  <a:gd name="T0" fmla="*/ 52 w 75"/>
                  <a:gd name="T1" fmla="*/ 0 h 88"/>
                  <a:gd name="T2" fmla="*/ 0 w 75"/>
                  <a:gd name="T3" fmla="*/ 0 h 88"/>
                  <a:gd name="T4" fmla="*/ 0 w 75"/>
                  <a:gd name="T5" fmla="*/ 88 h 88"/>
                  <a:gd name="T6" fmla="*/ 75 w 75"/>
                  <a:gd name="T7" fmla="*/ 30 h 88"/>
                  <a:gd name="T8" fmla="*/ 52 w 75"/>
                  <a:gd name="T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88">
                    <a:moveTo>
                      <a:pt x="52" y="0"/>
                    </a:moveTo>
                    <a:lnTo>
                      <a:pt x="0" y="0"/>
                    </a:lnTo>
                    <a:lnTo>
                      <a:pt x="0" y="88"/>
                    </a:lnTo>
                    <a:lnTo>
                      <a:pt x="75" y="30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" name="Freeform 142"/>
              <p:cNvSpPr>
                <a:spLocks noEditPoints="1"/>
              </p:cNvSpPr>
              <p:nvPr/>
            </p:nvSpPr>
            <p:spPr bwMode="auto">
              <a:xfrm>
                <a:off x="3543365" y="7438074"/>
                <a:ext cx="1238250" cy="590552"/>
              </a:xfrm>
              <a:custGeom>
                <a:avLst/>
                <a:gdLst>
                  <a:gd name="T0" fmla="*/ 1029 w 1342"/>
                  <a:gd name="T1" fmla="*/ 198 h 640"/>
                  <a:gd name="T2" fmla="*/ 781 w 1342"/>
                  <a:gd name="T3" fmla="*/ 388 h 640"/>
                  <a:gd name="T4" fmla="*/ 775 w 1342"/>
                  <a:gd name="T5" fmla="*/ 384 h 640"/>
                  <a:gd name="T6" fmla="*/ 764 w 1342"/>
                  <a:gd name="T7" fmla="*/ 380 h 640"/>
                  <a:gd name="T8" fmla="*/ 750 w 1342"/>
                  <a:gd name="T9" fmla="*/ 378 h 640"/>
                  <a:gd name="T10" fmla="*/ 734 w 1342"/>
                  <a:gd name="T11" fmla="*/ 377 h 640"/>
                  <a:gd name="T12" fmla="*/ 724 w 1342"/>
                  <a:gd name="T13" fmla="*/ 379 h 640"/>
                  <a:gd name="T14" fmla="*/ 710 w 1342"/>
                  <a:gd name="T15" fmla="*/ 383 h 640"/>
                  <a:gd name="T16" fmla="*/ 702 w 1342"/>
                  <a:gd name="T17" fmla="*/ 387 h 640"/>
                  <a:gd name="T18" fmla="*/ 595 w 1342"/>
                  <a:gd name="T19" fmla="*/ 304 h 640"/>
                  <a:gd name="T20" fmla="*/ 580 w 1342"/>
                  <a:gd name="T21" fmla="*/ 259 h 640"/>
                  <a:gd name="T22" fmla="*/ 575 w 1342"/>
                  <a:gd name="T23" fmla="*/ 252 h 640"/>
                  <a:gd name="T24" fmla="*/ 564 w 1342"/>
                  <a:gd name="T25" fmla="*/ 242 h 640"/>
                  <a:gd name="T26" fmla="*/ 558 w 1342"/>
                  <a:gd name="T27" fmla="*/ 238 h 640"/>
                  <a:gd name="T28" fmla="*/ 549 w 1342"/>
                  <a:gd name="T29" fmla="*/ 232 h 640"/>
                  <a:gd name="T30" fmla="*/ 537 w 1342"/>
                  <a:gd name="T31" fmla="*/ 227 h 640"/>
                  <a:gd name="T32" fmla="*/ 524 w 1342"/>
                  <a:gd name="T33" fmla="*/ 225 h 640"/>
                  <a:gd name="T34" fmla="*/ 505 w 1342"/>
                  <a:gd name="T35" fmla="*/ 224 h 640"/>
                  <a:gd name="T36" fmla="*/ 494 w 1342"/>
                  <a:gd name="T37" fmla="*/ 226 h 640"/>
                  <a:gd name="T38" fmla="*/ 483 w 1342"/>
                  <a:gd name="T39" fmla="*/ 230 h 640"/>
                  <a:gd name="T40" fmla="*/ 471 w 1342"/>
                  <a:gd name="T41" fmla="*/ 235 h 640"/>
                  <a:gd name="T42" fmla="*/ 462 w 1342"/>
                  <a:gd name="T43" fmla="*/ 241 h 640"/>
                  <a:gd name="T44" fmla="*/ 456 w 1342"/>
                  <a:gd name="T45" fmla="*/ 246 h 640"/>
                  <a:gd name="T46" fmla="*/ 441 w 1342"/>
                  <a:gd name="T47" fmla="*/ 265 h 640"/>
                  <a:gd name="T48" fmla="*/ 438 w 1342"/>
                  <a:gd name="T49" fmla="*/ 272 h 640"/>
                  <a:gd name="T50" fmla="*/ 435 w 1342"/>
                  <a:gd name="T51" fmla="*/ 278 h 640"/>
                  <a:gd name="T52" fmla="*/ 382 w 1342"/>
                  <a:gd name="T53" fmla="*/ 320 h 640"/>
                  <a:gd name="T54" fmla="*/ 103 w 1342"/>
                  <a:gd name="T55" fmla="*/ 514 h 640"/>
                  <a:gd name="T56" fmla="*/ 37 w 1342"/>
                  <a:gd name="T57" fmla="*/ 640 h 640"/>
                  <a:gd name="T58" fmla="*/ 263 w 1342"/>
                  <a:gd name="T59" fmla="*/ 483 h 640"/>
                  <a:gd name="T60" fmla="*/ 446 w 1342"/>
                  <a:gd name="T61" fmla="*/ 355 h 640"/>
                  <a:gd name="T62" fmla="*/ 462 w 1342"/>
                  <a:gd name="T63" fmla="*/ 372 h 640"/>
                  <a:gd name="T64" fmla="*/ 472 w 1342"/>
                  <a:gd name="T65" fmla="*/ 378 h 640"/>
                  <a:gd name="T66" fmla="*/ 482 w 1342"/>
                  <a:gd name="T67" fmla="*/ 383 h 640"/>
                  <a:gd name="T68" fmla="*/ 495 w 1342"/>
                  <a:gd name="T69" fmla="*/ 387 h 640"/>
                  <a:gd name="T70" fmla="*/ 505 w 1342"/>
                  <a:gd name="T71" fmla="*/ 389 h 640"/>
                  <a:gd name="T72" fmla="*/ 525 w 1342"/>
                  <a:gd name="T73" fmla="*/ 388 h 640"/>
                  <a:gd name="T74" fmla="*/ 537 w 1342"/>
                  <a:gd name="T75" fmla="*/ 386 h 640"/>
                  <a:gd name="T76" fmla="*/ 550 w 1342"/>
                  <a:gd name="T77" fmla="*/ 380 h 640"/>
                  <a:gd name="T78" fmla="*/ 557 w 1342"/>
                  <a:gd name="T79" fmla="*/ 376 h 640"/>
                  <a:gd name="T80" fmla="*/ 632 w 1342"/>
                  <a:gd name="T81" fmla="*/ 416 h 640"/>
                  <a:gd name="T82" fmla="*/ 659 w 1342"/>
                  <a:gd name="T83" fmla="*/ 450 h 640"/>
                  <a:gd name="T84" fmla="*/ 683 w 1342"/>
                  <a:gd name="T85" fmla="*/ 518 h 640"/>
                  <a:gd name="T86" fmla="*/ 821 w 1342"/>
                  <a:gd name="T87" fmla="*/ 483 h 640"/>
                  <a:gd name="T88" fmla="*/ 823 w 1342"/>
                  <a:gd name="T89" fmla="*/ 450 h 640"/>
                  <a:gd name="T90" fmla="*/ 933 w 1342"/>
                  <a:gd name="T91" fmla="*/ 354 h 640"/>
                  <a:gd name="T92" fmla="*/ 1080 w 1342"/>
                  <a:gd name="T93" fmla="*/ 241 h 640"/>
                  <a:gd name="T94" fmla="*/ 1256 w 1342"/>
                  <a:gd name="T95" fmla="*/ 206 h 640"/>
                  <a:gd name="T96" fmla="*/ 1122 w 1342"/>
                  <a:gd name="T97" fmla="*/ 31 h 640"/>
                  <a:gd name="T98" fmla="*/ 471 w 1342"/>
                  <a:gd name="T99" fmla="*/ 307 h 640"/>
                  <a:gd name="T100" fmla="*/ 536 w 1342"/>
                  <a:gd name="T101" fmla="*/ 272 h 640"/>
                  <a:gd name="T102" fmla="*/ 513 w 1342"/>
                  <a:gd name="T103" fmla="*/ 348 h 640"/>
                  <a:gd name="T104" fmla="*/ 740 w 1342"/>
                  <a:gd name="T105" fmla="*/ 501 h 640"/>
                  <a:gd name="T106" fmla="*/ 700 w 1342"/>
                  <a:gd name="T107" fmla="*/ 460 h 640"/>
                  <a:gd name="T108" fmla="*/ 781 w 1342"/>
                  <a:gd name="T109" fmla="*/ 471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342" h="640">
                    <a:moveTo>
                      <a:pt x="1122" y="31"/>
                    </a:moveTo>
                    <a:cubicBezTo>
                      <a:pt x="1168" y="91"/>
                      <a:pt x="1168" y="91"/>
                      <a:pt x="1168" y="91"/>
                    </a:cubicBezTo>
                    <a:cubicBezTo>
                      <a:pt x="1029" y="198"/>
                      <a:pt x="1029" y="198"/>
                      <a:pt x="1029" y="198"/>
                    </a:cubicBezTo>
                    <a:cubicBezTo>
                      <a:pt x="983" y="233"/>
                      <a:pt x="983" y="233"/>
                      <a:pt x="983" y="233"/>
                    </a:cubicBezTo>
                    <a:cubicBezTo>
                      <a:pt x="932" y="272"/>
                      <a:pt x="932" y="272"/>
                      <a:pt x="932" y="272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0" y="387"/>
                      <a:pt x="780" y="386"/>
                      <a:pt x="779" y="386"/>
                    </a:cubicBezTo>
                    <a:cubicBezTo>
                      <a:pt x="777" y="385"/>
                      <a:pt x="776" y="385"/>
                      <a:pt x="775" y="384"/>
                    </a:cubicBezTo>
                    <a:cubicBezTo>
                      <a:pt x="774" y="384"/>
                      <a:pt x="773" y="384"/>
                      <a:pt x="772" y="383"/>
                    </a:cubicBezTo>
                    <a:cubicBezTo>
                      <a:pt x="771" y="382"/>
                      <a:pt x="769" y="382"/>
                      <a:pt x="767" y="381"/>
                    </a:cubicBezTo>
                    <a:cubicBezTo>
                      <a:pt x="766" y="381"/>
                      <a:pt x="765" y="381"/>
                      <a:pt x="764" y="380"/>
                    </a:cubicBezTo>
                    <a:cubicBezTo>
                      <a:pt x="762" y="380"/>
                      <a:pt x="761" y="379"/>
                      <a:pt x="759" y="379"/>
                    </a:cubicBezTo>
                    <a:cubicBezTo>
                      <a:pt x="758" y="379"/>
                      <a:pt x="758" y="379"/>
                      <a:pt x="757" y="379"/>
                    </a:cubicBezTo>
                    <a:cubicBezTo>
                      <a:pt x="755" y="378"/>
                      <a:pt x="753" y="378"/>
                      <a:pt x="750" y="378"/>
                    </a:cubicBezTo>
                    <a:cubicBezTo>
                      <a:pt x="750" y="377"/>
                      <a:pt x="749" y="377"/>
                      <a:pt x="749" y="377"/>
                    </a:cubicBezTo>
                    <a:cubicBezTo>
                      <a:pt x="746" y="377"/>
                      <a:pt x="744" y="377"/>
                      <a:pt x="741" y="377"/>
                    </a:cubicBezTo>
                    <a:cubicBezTo>
                      <a:pt x="739" y="377"/>
                      <a:pt x="736" y="377"/>
                      <a:pt x="734" y="377"/>
                    </a:cubicBezTo>
                    <a:cubicBezTo>
                      <a:pt x="733" y="377"/>
                      <a:pt x="732" y="377"/>
                      <a:pt x="732" y="378"/>
                    </a:cubicBezTo>
                    <a:cubicBezTo>
                      <a:pt x="730" y="378"/>
                      <a:pt x="727" y="378"/>
                      <a:pt x="725" y="379"/>
                    </a:cubicBezTo>
                    <a:cubicBezTo>
                      <a:pt x="724" y="379"/>
                      <a:pt x="724" y="379"/>
                      <a:pt x="724" y="379"/>
                    </a:cubicBezTo>
                    <a:cubicBezTo>
                      <a:pt x="721" y="379"/>
                      <a:pt x="719" y="380"/>
                      <a:pt x="717" y="380"/>
                    </a:cubicBezTo>
                    <a:cubicBezTo>
                      <a:pt x="717" y="381"/>
                      <a:pt x="717" y="381"/>
                      <a:pt x="716" y="381"/>
                    </a:cubicBezTo>
                    <a:cubicBezTo>
                      <a:pt x="714" y="382"/>
                      <a:pt x="712" y="382"/>
                      <a:pt x="710" y="383"/>
                    </a:cubicBezTo>
                    <a:cubicBezTo>
                      <a:pt x="709" y="383"/>
                      <a:pt x="709" y="384"/>
                      <a:pt x="708" y="384"/>
                    </a:cubicBezTo>
                    <a:cubicBezTo>
                      <a:pt x="706" y="385"/>
                      <a:pt x="704" y="386"/>
                      <a:pt x="702" y="387"/>
                    </a:cubicBezTo>
                    <a:cubicBezTo>
                      <a:pt x="702" y="387"/>
                      <a:pt x="702" y="387"/>
                      <a:pt x="702" y="387"/>
                    </a:cubicBezTo>
                    <a:cubicBezTo>
                      <a:pt x="683" y="372"/>
                      <a:pt x="683" y="372"/>
                      <a:pt x="683" y="372"/>
                    </a:cubicBezTo>
                    <a:cubicBezTo>
                      <a:pt x="632" y="333"/>
                      <a:pt x="632" y="333"/>
                      <a:pt x="632" y="333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292"/>
                      <a:pt x="592" y="282"/>
                      <a:pt x="588" y="272"/>
                    </a:cubicBezTo>
                    <a:cubicBezTo>
                      <a:pt x="586" y="268"/>
                      <a:pt x="583" y="263"/>
                      <a:pt x="580" y="259"/>
                    </a:cubicBezTo>
                    <a:cubicBezTo>
                      <a:pt x="580" y="259"/>
                      <a:pt x="580" y="259"/>
                      <a:pt x="580" y="259"/>
                    </a:cubicBezTo>
                    <a:cubicBezTo>
                      <a:pt x="579" y="257"/>
                      <a:pt x="577" y="255"/>
                      <a:pt x="575" y="253"/>
                    </a:cubicBezTo>
                    <a:cubicBezTo>
                      <a:pt x="575" y="253"/>
                      <a:pt x="575" y="253"/>
                      <a:pt x="575" y="252"/>
                    </a:cubicBezTo>
                    <a:cubicBezTo>
                      <a:pt x="573" y="251"/>
                      <a:pt x="572" y="249"/>
                      <a:pt x="570" y="247"/>
                    </a:cubicBezTo>
                    <a:cubicBezTo>
                      <a:pt x="570" y="247"/>
                      <a:pt x="570" y="247"/>
                      <a:pt x="569" y="246"/>
                    </a:cubicBezTo>
                    <a:cubicBezTo>
                      <a:pt x="568" y="245"/>
                      <a:pt x="566" y="243"/>
                      <a:pt x="564" y="242"/>
                    </a:cubicBezTo>
                    <a:cubicBezTo>
                      <a:pt x="564" y="242"/>
                      <a:pt x="564" y="242"/>
                      <a:pt x="564" y="241"/>
                    </a:cubicBezTo>
                    <a:cubicBezTo>
                      <a:pt x="563" y="241"/>
                      <a:pt x="563" y="241"/>
                      <a:pt x="563" y="241"/>
                    </a:cubicBezTo>
                    <a:cubicBezTo>
                      <a:pt x="561" y="240"/>
                      <a:pt x="560" y="239"/>
                      <a:pt x="558" y="238"/>
                    </a:cubicBezTo>
                    <a:cubicBezTo>
                      <a:pt x="558" y="237"/>
                      <a:pt x="557" y="237"/>
                      <a:pt x="556" y="236"/>
                    </a:cubicBezTo>
                    <a:cubicBezTo>
                      <a:pt x="555" y="235"/>
                      <a:pt x="553" y="234"/>
                      <a:pt x="552" y="234"/>
                    </a:cubicBezTo>
                    <a:cubicBezTo>
                      <a:pt x="551" y="233"/>
                      <a:pt x="550" y="233"/>
                      <a:pt x="549" y="232"/>
                    </a:cubicBezTo>
                    <a:cubicBezTo>
                      <a:pt x="547" y="232"/>
                      <a:pt x="546" y="231"/>
                      <a:pt x="544" y="230"/>
                    </a:cubicBezTo>
                    <a:cubicBezTo>
                      <a:pt x="543" y="230"/>
                      <a:pt x="542" y="229"/>
                      <a:pt x="541" y="229"/>
                    </a:cubicBezTo>
                    <a:cubicBezTo>
                      <a:pt x="540" y="228"/>
                      <a:pt x="538" y="228"/>
                      <a:pt x="537" y="227"/>
                    </a:cubicBezTo>
                    <a:cubicBezTo>
                      <a:pt x="536" y="227"/>
                      <a:pt x="534" y="227"/>
                      <a:pt x="533" y="226"/>
                    </a:cubicBezTo>
                    <a:cubicBezTo>
                      <a:pt x="532" y="226"/>
                      <a:pt x="530" y="226"/>
                      <a:pt x="529" y="225"/>
                    </a:cubicBezTo>
                    <a:cubicBezTo>
                      <a:pt x="527" y="225"/>
                      <a:pt x="526" y="225"/>
                      <a:pt x="524" y="225"/>
                    </a:cubicBezTo>
                    <a:cubicBezTo>
                      <a:pt x="523" y="225"/>
                      <a:pt x="522" y="224"/>
                      <a:pt x="521" y="224"/>
                    </a:cubicBezTo>
                    <a:cubicBezTo>
                      <a:pt x="518" y="224"/>
                      <a:pt x="516" y="224"/>
                      <a:pt x="513" y="224"/>
                    </a:cubicBezTo>
                    <a:cubicBezTo>
                      <a:pt x="510" y="224"/>
                      <a:pt x="508" y="224"/>
                      <a:pt x="505" y="224"/>
                    </a:cubicBezTo>
                    <a:cubicBezTo>
                      <a:pt x="504" y="224"/>
                      <a:pt x="503" y="224"/>
                      <a:pt x="502" y="224"/>
                    </a:cubicBezTo>
                    <a:cubicBezTo>
                      <a:pt x="501" y="225"/>
                      <a:pt x="499" y="225"/>
                      <a:pt x="497" y="225"/>
                    </a:cubicBezTo>
                    <a:cubicBezTo>
                      <a:pt x="496" y="225"/>
                      <a:pt x="495" y="226"/>
                      <a:pt x="494" y="226"/>
                    </a:cubicBezTo>
                    <a:cubicBezTo>
                      <a:pt x="493" y="226"/>
                      <a:pt x="491" y="227"/>
                      <a:pt x="490" y="227"/>
                    </a:cubicBezTo>
                    <a:cubicBezTo>
                      <a:pt x="489" y="227"/>
                      <a:pt x="488" y="228"/>
                      <a:pt x="487" y="228"/>
                    </a:cubicBezTo>
                    <a:cubicBezTo>
                      <a:pt x="486" y="228"/>
                      <a:pt x="484" y="229"/>
                      <a:pt x="483" y="230"/>
                    </a:cubicBezTo>
                    <a:cubicBezTo>
                      <a:pt x="482" y="230"/>
                      <a:pt x="481" y="230"/>
                      <a:pt x="480" y="231"/>
                    </a:cubicBezTo>
                    <a:cubicBezTo>
                      <a:pt x="478" y="231"/>
                      <a:pt x="476" y="232"/>
                      <a:pt x="474" y="234"/>
                    </a:cubicBezTo>
                    <a:cubicBezTo>
                      <a:pt x="473" y="234"/>
                      <a:pt x="472" y="235"/>
                      <a:pt x="471" y="235"/>
                    </a:cubicBezTo>
                    <a:cubicBezTo>
                      <a:pt x="470" y="236"/>
                      <a:pt x="469" y="237"/>
                      <a:pt x="467" y="237"/>
                    </a:cubicBezTo>
                    <a:cubicBezTo>
                      <a:pt x="466" y="238"/>
                      <a:pt x="465" y="239"/>
                      <a:pt x="464" y="240"/>
                    </a:cubicBezTo>
                    <a:cubicBezTo>
                      <a:pt x="463" y="240"/>
                      <a:pt x="463" y="241"/>
                      <a:pt x="462" y="241"/>
                    </a:cubicBezTo>
                    <a:cubicBezTo>
                      <a:pt x="462" y="242"/>
                      <a:pt x="462" y="242"/>
                      <a:pt x="462" y="242"/>
                    </a:cubicBezTo>
                    <a:cubicBezTo>
                      <a:pt x="461" y="242"/>
                      <a:pt x="460" y="243"/>
                      <a:pt x="458" y="244"/>
                    </a:cubicBezTo>
                    <a:cubicBezTo>
                      <a:pt x="458" y="245"/>
                      <a:pt x="457" y="245"/>
                      <a:pt x="456" y="246"/>
                    </a:cubicBezTo>
                    <a:cubicBezTo>
                      <a:pt x="455" y="247"/>
                      <a:pt x="454" y="248"/>
                      <a:pt x="453" y="249"/>
                    </a:cubicBezTo>
                    <a:cubicBezTo>
                      <a:pt x="453" y="250"/>
                      <a:pt x="452" y="250"/>
                      <a:pt x="452" y="251"/>
                    </a:cubicBezTo>
                    <a:cubicBezTo>
                      <a:pt x="448" y="255"/>
                      <a:pt x="444" y="260"/>
                      <a:pt x="441" y="265"/>
                    </a:cubicBezTo>
                    <a:cubicBezTo>
                      <a:pt x="441" y="265"/>
                      <a:pt x="441" y="265"/>
                      <a:pt x="441" y="266"/>
                    </a:cubicBezTo>
                    <a:cubicBezTo>
                      <a:pt x="440" y="267"/>
                      <a:pt x="439" y="269"/>
                      <a:pt x="438" y="270"/>
                    </a:cubicBezTo>
                    <a:cubicBezTo>
                      <a:pt x="438" y="271"/>
                      <a:pt x="438" y="271"/>
                      <a:pt x="438" y="272"/>
                    </a:cubicBezTo>
                    <a:cubicBezTo>
                      <a:pt x="438" y="272"/>
                      <a:pt x="437" y="272"/>
                      <a:pt x="437" y="272"/>
                    </a:cubicBezTo>
                    <a:cubicBezTo>
                      <a:pt x="437" y="274"/>
                      <a:pt x="436" y="275"/>
                      <a:pt x="436" y="277"/>
                    </a:cubicBezTo>
                    <a:cubicBezTo>
                      <a:pt x="435" y="277"/>
                      <a:pt x="435" y="278"/>
                      <a:pt x="435" y="278"/>
                    </a:cubicBezTo>
                    <a:cubicBezTo>
                      <a:pt x="434" y="280"/>
                      <a:pt x="434" y="282"/>
                      <a:pt x="433" y="284"/>
                    </a:cubicBezTo>
                    <a:cubicBezTo>
                      <a:pt x="433" y="284"/>
                      <a:pt x="433" y="284"/>
                      <a:pt x="433" y="284"/>
                    </a:cubicBezTo>
                    <a:cubicBezTo>
                      <a:pt x="382" y="320"/>
                      <a:pt x="382" y="320"/>
                      <a:pt x="382" y="320"/>
                    </a:cubicBezTo>
                    <a:cubicBezTo>
                      <a:pt x="332" y="355"/>
                      <a:pt x="332" y="355"/>
                      <a:pt x="332" y="355"/>
                    </a:cubicBezTo>
                    <a:cubicBezTo>
                      <a:pt x="147" y="483"/>
                      <a:pt x="147" y="483"/>
                      <a:pt x="147" y="483"/>
                    </a:cubicBezTo>
                    <a:cubicBezTo>
                      <a:pt x="103" y="514"/>
                      <a:pt x="103" y="514"/>
                      <a:pt x="103" y="514"/>
                    </a:cubicBezTo>
                    <a:cubicBezTo>
                      <a:pt x="81" y="529"/>
                      <a:pt x="81" y="529"/>
                      <a:pt x="81" y="529"/>
                    </a:cubicBezTo>
                    <a:cubicBezTo>
                      <a:pt x="0" y="586"/>
                      <a:pt x="0" y="586"/>
                      <a:pt x="0" y="586"/>
                    </a:cubicBezTo>
                    <a:cubicBezTo>
                      <a:pt x="37" y="640"/>
                      <a:pt x="37" y="640"/>
                      <a:pt x="37" y="640"/>
                    </a:cubicBezTo>
                    <a:cubicBezTo>
                      <a:pt x="81" y="609"/>
                      <a:pt x="81" y="609"/>
                      <a:pt x="81" y="609"/>
                    </a:cubicBezTo>
                    <a:cubicBezTo>
                      <a:pt x="218" y="514"/>
                      <a:pt x="218" y="514"/>
                      <a:pt x="218" y="514"/>
                    </a:cubicBezTo>
                    <a:cubicBezTo>
                      <a:pt x="263" y="483"/>
                      <a:pt x="263" y="483"/>
                      <a:pt x="263" y="483"/>
                    </a:cubicBezTo>
                    <a:cubicBezTo>
                      <a:pt x="332" y="435"/>
                      <a:pt x="332" y="435"/>
                      <a:pt x="332" y="435"/>
                    </a:cubicBezTo>
                    <a:cubicBezTo>
                      <a:pt x="382" y="400"/>
                      <a:pt x="382" y="400"/>
                      <a:pt x="382" y="400"/>
                    </a:cubicBezTo>
                    <a:cubicBezTo>
                      <a:pt x="446" y="355"/>
                      <a:pt x="446" y="355"/>
                      <a:pt x="446" y="355"/>
                    </a:cubicBezTo>
                    <a:cubicBezTo>
                      <a:pt x="448" y="358"/>
                      <a:pt x="450" y="360"/>
                      <a:pt x="452" y="362"/>
                    </a:cubicBezTo>
                    <a:cubicBezTo>
                      <a:pt x="452" y="362"/>
                      <a:pt x="452" y="363"/>
                      <a:pt x="452" y="363"/>
                    </a:cubicBezTo>
                    <a:cubicBezTo>
                      <a:pt x="455" y="366"/>
                      <a:pt x="458" y="369"/>
                      <a:pt x="462" y="372"/>
                    </a:cubicBezTo>
                    <a:cubicBezTo>
                      <a:pt x="463" y="372"/>
                      <a:pt x="463" y="373"/>
                      <a:pt x="464" y="373"/>
                    </a:cubicBezTo>
                    <a:cubicBezTo>
                      <a:pt x="465" y="374"/>
                      <a:pt x="467" y="376"/>
                      <a:pt x="469" y="377"/>
                    </a:cubicBezTo>
                    <a:cubicBezTo>
                      <a:pt x="470" y="377"/>
                      <a:pt x="471" y="378"/>
                      <a:pt x="472" y="378"/>
                    </a:cubicBezTo>
                    <a:cubicBezTo>
                      <a:pt x="472" y="379"/>
                      <a:pt x="473" y="379"/>
                      <a:pt x="474" y="380"/>
                    </a:cubicBezTo>
                    <a:cubicBezTo>
                      <a:pt x="476" y="381"/>
                      <a:pt x="478" y="382"/>
                      <a:pt x="480" y="382"/>
                    </a:cubicBezTo>
                    <a:cubicBezTo>
                      <a:pt x="480" y="383"/>
                      <a:pt x="481" y="383"/>
                      <a:pt x="482" y="383"/>
                    </a:cubicBezTo>
                    <a:cubicBezTo>
                      <a:pt x="484" y="384"/>
                      <a:pt x="486" y="385"/>
                      <a:pt x="487" y="385"/>
                    </a:cubicBezTo>
                    <a:cubicBezTo>
                      <a:pt x="488" y="386"/>
                      <a:pt x="488" y="386"/>
                      <a:pt x="489" y="386"/>
                    </a:cubicBezTo>
                    <a:cubicBezTo>
                      <a:pt x="491" y="386"/>
                      <a:pt x="493" y="387"/>
                      <a:pt x="495" y="387"/>
                    </a:cubicBezTo>
                    <a:cubicBezTo>
                      <a:pt x="496" y="388"/>
                      <a:pt x="496" y="388"/>
                      <a:pt x="497" y="388"/>
                    </a:cubicBezTo>
                    <a:cubicBezTo>
                      <a:pt x="499" y="388"/>
                      <a:pt x="501" y="389"/>
                      <a:pt x="504" y="389"/>
                    </a:cubicBezTo>
                    <a:cubicBezTo>
                      <a:pt x="504" y="389"/>
                      <a:pt x="505" y="389"/>
                      <a:pt x="505" y="389"/>
                    </a:cubicBezTo>
                    <a:cubicBezTo>
                      <a:pt x="508" y="389"/>
                      <a:pt x="510" y="389"/>
                      <a:pt x="513" y="389"/>
                    </a:cubicBezTo>
                    <a:cubicBezTo>
                      <a:pt x="516" y="389"/>
                      <a:pt x="518" y="389"/>
                      <a:pt x="521" y="389"/>
                    </a:cubicBezTo>
                    <a:cubicBezTo>
                      <a:pt x="522" y="389"/>
                      <a:pt x="524" y="389"/>
                      <a:pt x="525" y="388"/>
                    </a:cubicBezTo>
                    <a:cubicBezTo>
                      <a:pt x="526" y="388"/>
                      <a:pt x="528" y="388"/>
                      <a:pt x="529" y="388"/>
                    </a:cubicBezTo>
                    <a:cubicBezTo>
                      <a:pt x="531" y="387"/>
                      <a:pt x="532" y="387"/>
                      <a:pt x="534" y="386"/>
                    </a:cubicBezTo>
                    <a:cubicBezTo>
                      <a:pt x="535" y="386"/>
                      <a:pt x="536" y="386"/>
                      <a:pt x="537" y="386"/>
                    </a:cubicBezTo>
                    <a:cubicBezTo>
                      <a:pt x="539" y="385"/>
                      <a:pt x="541" y="384"/>
                      <a:pt x="543" y="384"/>
                    </a:cubicBezTo>
                    <a:cubicBezTo>
                      <a:pt x="543" y="384"/>
                      <a:pt x="543" y="383"/>
                      <a:pt x="544" y="383"/>
                    </a:cubicBezTo>
                    <a:cubicBezTo>
                      <a:pt x="546" y="382"/>
                      <a:pt x="548" y="381"/>
                      <a:pt x="550" y="380"/>
                    </a:cubicBezTo>
                    <a:cubicBezTo>
                      <a:pt x="550" y="380"/>
                      <a:pt x="551" y="380"/>
                      <a:pt x="551" y="380"/>
                    </a:cubicBezTo>
                    <a:cubicBezTo>
                      <a:pt x="553" y="379"/>
                      <a:pt x="555" y="378"/>
                      <a:pt x="557" y="376"/>
                    </a:cubicBezTo>
                    <a:cubicBezTo>
                      <a:pt x="557" y="376"/>
                      <a:pt x="557" y="376"/>
                      <a:pt x="557" y="376"/>
                    </a:cubicBezTo>
                    <a:cubicBezTo>
                      <a:pt x="562" y="373"/>
                      <a:pt x="566" y="370"/>
                      <a:pt x="569" y="367"/>
                    </a:cubicBezTo>
                    <a:cubicBezTo>
                      <a:pt x="569" y="367"/>
                      <a:pt x="569" y="367"/>
                      <a:pt x="569" y="367"/>
                    </a:cubicBezTo>
                    <a:cubicBezTo>
                      <a:pt x="632" y="416"/>
                      <a:pt x="632" y="416"/>
                      <a:pt x="632" y="416"/>
                    </a:cubicBezTo>
                    <a:cubicBezTo>
                      <a:pt x="661" y="439"/>
                      <a:pt x="661" y="439"/>
                      <a:pt x="661" y="439"/>
                    </a:cubicBezTo>
                    <a:cubicBezTo>
                      <a:pt x="660" y="441"/>
                      <a:pt x="660" y="444"/>
                      <a:pt x="659" y="447"/>
                    </a:cubicBezTo>
                    <a:cubicBezTo>
                      <a:pt x="659" y="448"/>
                      <a:pt x="659" y="449"/>
                      <a:pt x="659" y="450"/>
                    </a:cubicBezTo>
                    <a:cubicBezTo>
                      <a:pt x="659" y="451"/>
                      <a:pt x="659" y="452"/>
                      <a:pt x="659" y="453"/>
                    </a:cubicBezTo>
                    <a:cubicBezTo>
                      <a:pt x="658" y="455"/>
                      <a:pt x="658" y="457"/>
                      <a:pt x="658" y="460"/>
                    </a:cubicBezTo>
                    <a:cubicBezTo>
                      <a:pt x="658" y="483"/>
                      <a:pt x="668" y="503"/>
                      <a:pt x="683" y="518"/>
                    </a:cubicBezTo>
                    <a:cubicBezTo>
                      <a:pt x="698" y="533"/>
                      <a:pt x="718" y="543"/>
                      <a:pt x="741" y="543"/>
                    </a:cubicBezTo>
                    <a:cubicBezTo>
                      <a:pt x="766" y="543"/>
                      <a:pt x="788" y="531"/>
                      <a:pt x="804" y="514"/>
                    </a:cubicBezTo>
                    <a:cubicBezTo>
                      <a:pt x="811" y="505"/>
                      <a:pt x="817" y="494"/>
                      <a:pt x="821" y="483"/>
                    </a:cubicBezTo>
                    <a:cubicBezTo>
                      <a:pt x="823" y="476"/>
                      <a:pt x="824" y="468"/>
                      <a:pt x="824" y="460"/>
                    </a:cubicBezTo>
                    <a:cubicBezTo>
                      <a:pt x="824" y="457"/>
                      <a:pt x="824" y="455"/>
                      <a:pt x="824" y="453"/>
                    </a:cubicBezTo>
                    <a:cubicBezTo>
                      <a:pt x="824" y="452"/>
                      <a:pt x="823" y="451"/>
                      <a:pt x="823" y="450"/>
                    </a:cubicBezTo>
                    <a:cubicBezTo>
                      <a:pt x="823" y="449"/>
                      <a:pt x="823" y="448"/>
                      <a:pt x="823" y="447"/>
                    </a:cubicBezTo>
                    <a:cubicBezTo>
                      <a:pt x="823" y="445"/>
                      <a:pt x="822" y="442"/>
                      <a:pt x="821" y="440"/>
                    </a:cubicBezTo>
                    <a:cubicBezTo>
                      <a:pt x="933" y="354"/>
                      <a:pt x="933" y="354"/>
                      <a:pt x="933" y="354"/>
                    </a:cubicBezTo>
                    <a:cubicBezTo>
                      <a:pt x="983" y="316"/>
                      <a:pt x="983" y="316"/>
                      <a:pt x="983" y="316"/>
                    </a:cubicBezTo>
                    <a:cubicBezTo>
                      <a:pt x="1040" y="272"/>
                      <a:pt x="1040" y="272"/>
                      <a:pt x="1040" y="272"/>
                    </a:cubicBezTo>
                    <a:cubicBezTo>
                      <a:pt x="1080" y="241"/>
                      <a:pt x="1080" y="241"/>
                      <a:pt x="1080" y="241"/>
                    </a:cubicBezTo>
                    <a:cubicBezTo>
                      <a:pt x="1208" y="143"/>
                      <a:pt x="1208" y="143"/>
                      <a:pt x="1208" y="143"/>
                    </a:cubicBezTo>
                    <a:cubicBezTo>
                      <a:pt x="1234" y="177"/>
                      <a:pt x="1234" y="177"/>
                      <a:pt x="1234" y="177"/>
                    </a:cubicBezTo>
                    <a:cubicBezTo>
                      <a:pt x="1256" y="206"/>
                      <a:pt x="1256" y="206"/>
                      <a:pt x="1256" y="206"/>
                    </a:cubicBezTo>
                    <a:cubicBezTo>
                      <a:pt x="1342" y="0"/>
                      <a:pt x="1342" y="0"/>
                      <a:pt x="1342" y="0"/>
                    </a:cubicBezTo>
                    <a:cubicBezTo>
                      <a:pt x="1121" y="29"/>
                      <a:pt x="1121" y="29"/>
                      <a:pt x="1121" y="29"/>
                    </a:cubicBezTo>
                    <a:lnTo>
                      <a:pt x="1122" y="31"/>
                    </a:lnTo>
                    <a:close/>
                    <a:moveTo>
                      <a:pt x="513" y="348"/>
                    </a:moveTo>
                    <a:cubicBezTo>
                      <a:pt x="499" y="348"/>
                      <a:pt x="487" y="341"/>
                      <a:pt x="480" y="331"/>
                    </a:cubicBezTo>
                    <a:cubicBezTo>
                      <a:pt x="475" y="325"/>
                      <a:pt x="471" y="316"/>
                      <a:pt x="471" y="307"/>
                    </a:cubicBezTo>
                    <a:cubicBezTo>
                      <a:pt x="471" y="292"/>
                      <a:pt x="479" y="280"/>
                      <a:pt x="490" y="272"/>
                    </a:cubicBezTo>
                    <a:cubicBezTo>
                      <a:pt x="496" y="268"/>
                      <a:pt x="504" y="265"/>
                      <a:pt x="513" y="265"/>
                    </a:cubicBezTo>
                    <a:cubicBezTo>
                      <a:pt x="521" y="265"/>
                      <a:pt x="529" y="268"/>
                      <a:pt x="536" y="272"/>
                    </a:cubicBezTo>
                    <a:cubicBezTo>
                      <a:pt x="547" y="280"/>
                      <a:pt x="554" y="292"/>
                      <a:pt x="554" y="307"/>
                    </a:cubicBezTo>
                    <a:cubicBezTo>
                      <a:pt x="554" y="321"/>
                      <a:pt x="547" y="333"/>
                      <a:pt x="536" y="340"/>
                    </a:cubicBezTo>
                    <a:cubicBezTo>
                      <a:pt x="529" y="345"/>
                      <a:pt x="521" y="348"/>
                      <a:pt x="513" y="348"/>
                    </a:cubicBezTo>
                    <a:close/>
                    <a:moveTo>
                      <a:pt x="741" y="501"/>
                    </a:moveTo>
                    <a:cubicBezTo>
                      <a:pt x="741" y="501"/>
                      <a:pt x="741" y="501"/>
                      <a:pt x="741" y="501"/>
                    </a:cubicBezTo>
                    <a:cubicBezTo>
                      <a:pt x="741" y="501"/>
                      <a:pt x="741" y="501"/>
                      <a:pt x="740" y="501"/>
                    </a:cubicBezTo>
                    <a:cubicBezTo>
                      <a:pt x="726" y="501"/>
                      <a:pt x="714" y="494"/>
                      <a:pt x="707" y="483"/>
                    </a:cubicBezTo>
                    <a:cubicBezTo>
                      <a:pt x="704" y="479"/>
                      <a:pt x="702" y="475"/>
                      <a:pt x="701" y="470"/>
                    </a:cubicBezTo>
                    <a:cubicBezTo>
                      <a:pt x="700" y="467"/>
                      <a:pt x="700" y="463"/>
                      <a:pt x="700" y="460"/>
                    </a:cubicBezTo>
                    <a:cubicBezTo>
                      <a:pt x="700" y="437"/>
                      <a:pt x="718" y="419"/>
                      <a:pt x="741" y="419"/>
                    </a:cubicBezTo>
                    <a:cubicBezTo>
                      <a:pt x="764" y="419"/>
                      <a:pt x="782" y="437"/>
                      <a:pt x="782" y="460"/>
                    </a:cubicBezTo>
                    <a:cubicBezTo>
                      <a:pt x="782" y="464"/>
                      <a:pt x="782" y="467"/>
                      <a:pt x="781" y="471"/>
                    </a:cubicBezTo>
                    <a:cubicBezTo>
                      <a:pt x="779" y="475"/>
                      <a:pt x="778" y="479"/>
                      <a:pt x="775" y="483"/>
                    </a:cubicBezTo>
                    <a:cubicBezTo>
                      <a:pt x="768" y="494"/>
                      <a:pt x="755" y="501"/>
                      <a:pt x="741" y="5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27" name="Title 2"/>
          <p:cNvSpPr txBox="1">
            <a:spLocks/>
          </p:cNvSpPr>
          <p:nvPr/>
        </p:nvSpPr>
        <p:spPr>
          <a:xfrm>
            <a:off x="185007" y="2093811"/>
            <a:ext cx="5047057" cy="249126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defTabSz="914367">
              <a:lnSpc>
                <a:spcPct val="90000"/>
              </a:lnSpc>
              <a:spcBef>
                <a:spcPct val="0"/>
              </a:spcBef>
              <a:buNone/>
              <a:defRPr lang="en-US" sz="5500" b="0" cap="none" spc="-100" baseline="0" dirty="0">
                <a:ln w="3175">
                  <a:noFill/>
                </a:ln>
                <a:solidFill>
                  <a:srgbClr val="EDC30D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Power BI</a:t>
            </a:r>
          </a:p>
          <a:p>
            <a:r>
              <a:rPr lang="en-US" dirty="0"/>
              <a:t>Governanc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072D60D-BF15-4FBD-BA65-FF1E3FF30147}"/>
              </a:ext>
            </a:extLst>
          </p:cNvPr>
          <p:cNvSpPr/>
          <p:nvPr/>
        </p:nvSpPr>
        <p:spPr>
          <a:xfrm>
            <a:off x="6154963" y="806456"/>
            <a:ext cx="5315119" cy="5245087"/>
          </a:xfrm>
          <a:prstGeom prst="rect">
            <a:avLst/>
          </a:prstGeom>
        </p:spPr>
        <p:txBody>
          <a:bodyPr wrap="square" lIns="179285" tIns="143428" rIns="179285" bIns="143428">
            <a:noAutofit/>
          </a:bodyPr>
          <a:lstStyle/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GB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Environment Administration</a:t>
            </a: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endParaRPr lang="en-GB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GB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Tenant Settings</a:t>
            </a:r>
            <a:endParaRPr lang="en-US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endParaRPr lang="en-GB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GB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Roles and Responsibilities</a:t>
            </a: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endParaRPr lang="en-GB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GB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Enterprise Gateways</a:t>
            </a: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endParaRPr lang="en-GB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GB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ecurity standards</a:t>
            </a: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endParaRPr kumimoji="0" lang="en-GB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GB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haring</a:t>
            </a: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endParaRPr lang="en-GB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GB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Environment and Reporting consistency</a:t>
            </a: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endParaRPr lang="en-GB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GB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Published source data and business data models</a:t>
            </a: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endParaRPr kumimoji="0" lang="en-GB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6237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30714">
        <p:fade/>
      </p:transition>
    </mc:Choice>
    <mc:Fallback xmlns="">
      <p:transition spd="med" advTm="130714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0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0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866" y="1460"/>
            <a:ext cx="5231198" cy="6856055"/>
            <a:chOff x="-618" y="973"/>
            <a:chExt cx="2849058" cy="6857027"/>
          </a:xfrm>
          <a:solidFill>
            <a:srgbClr val="000000"/>
          </a:solidFill>
        </p:grpSpPr>
        <p:sp>
          <p:nvSpPr>
            <p:cNvPr id="5" name="Rectangle 15"/>
            <p:cNvSpPr/>
            <p:nvPr/>
          </p:nvSpPr>
          <p:spPr bwMode="auto">
            <a:xfrm>
              <a:off x="-618" y="973"/>
              <a:ext cx="2849058" cy="685702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0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Freeform 14"/>
            <p:cNvSpPr>
              <a:spLocks/>
            </p:cNvSpPr>
            <p:nvPr/>
          </p:nvSpPr>
          <p:spPr bwMode="auto">
            <a:xfrm rot="9900000">
              <a:off x="281101" y="1213467"/>
              <a:ext cx="172974" cy="172974"/>
            </a:xfrm>
            <a:custGeom>
              <a:avLst/>
              <a:gdLst>
                <a:gd name="T0" fmla="*/ 422 w 422"/>
                <a:gd name="T1" fmla="*/ 220 h 422"/>
                <a:gd name="T2" fmla="*/ 386 w 422"/>
                <a:gd name="T3" fmla="*/ 171 h 422"/>
                <a:gd name="T4" fmla="*/ 341 w 422"/>
                <a:gd name="T5" fmla="*/ 138 h 422"/>
                <a:gd name="T6" fmla="*/ 260 w 422"/>
                <a:gd name="T7" fmla="*/ 180 h 422"/>
                <a:gd name="T8" fmla="*/ 302 w 422"/>
                <a:gd name="T9" fmla="*/ 100 h 422"/>
                <a:gd name="T10" fmla="*/ 269 w 422"/>
                <a:gd name="T11" fmla="*/ 55 h 422"/>
                <a:gd name="T12" fmla="*/ 220 w 422"/>
                <a:gd name="T13" fmla="*/ 18 h 422"/>
                <a:gd name="T14" fmla="*/ 183 w 422"/>
                <a:gd name="T15" fmla="*/ 67 h 422"/>
                <a:gd name="T16" fmla="*/ 138 w 422"/>
                <a:gd name="T17" fmla="*/ 100 h 422"/>
                <a:gd name="T18" fmla="*/ 58 w 422"/>
                <a:gd name="T19" fmla="*/ 58 h 422"/>
                <a:gd name="T20" fmla="*/ 100 w 422"/>
                <a:gd name="T21" fmla="*/ 138 h 422"/>
                <a:gd name="T22" fmla="*/ 67 w 422"/>
                <a:gd name="T23" fmla="*/ 183 h 422"/>
                <a:gd name="T24" fmla="*/ 18 w 422"/>
                <a:gd name="T25" fmla="*/ 220 h 422"/>
                <a:gd name="T26" fmla="*/ 55 w 422"/>
                <a:gd name="T27" fmla="*/ 269 h 422"/>
                <a:gd name="T28" fmla="*/ 100 w 422"/>
                <a:gd name="T29" fmla="*/ 302 h 422"/>
                <a:gd name="T30" fmla="*/ 180 w 422"/>
                <a:gd name="T31" fmla="*/ 260 h 422"/>
                <a:gd name="T32" fmla="*/ 138 w 422"/>
                <a:gd name="T33" fmla="*/ 341 h 422"/>
                <a:gd name="T34" fmla="*/ 171 w 422"/>
                <a:gd name="T35" fmla="*/ 386 h 422"/>
                <a:gd name="T36" fmla="*/ 220 w 422"/>
                <a:gd name="T37" fmla="*/ 422 h 422"/>
                <a:gd name="T38" fmla="*/ 422 w 422"/>
                <a:gd name="T39" fmla="*/ 22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2" h="422">
                  <a:moveTo>
                    <a:pt x="422" y="220"/>
                  </a:moveTo>
                  <a:cubicBezTo>
                    <a:pt x="422" y="220"/>
                    <a:pt x="398" y="183"/>
                    <a:pt x="386" y="171"/>
                  </a:cubicBezTo>
                  <a:cubicBezTo>
                    <a:pt x="373" y="159"/>
                    <a:pt x="349" y="134"/>
                    <a:pt x="341" y="138"/>
                  </a:cubicBezTo>
                  <a:cubicBezTo>
                    <a:pt x="332" y="142"/>
                    <a:pt x="318" y="239"/>
                    <a:pt x="260" y="180"/>
                  </a:cubicBezTo>
                  <a:cubicBezTo>
                    <a:pt x="202" y="122"/>
                    <a:pt x="300" y="110"/>
                    <a:pt x="302" y="100"/>
                  </a:cubicBezTo>
                  <a:cubicBezTo>
                    <a:pt x="304" y="90"/>
                    <a:pt x="281" y="67"/>
                    <a:pt x="269" y="55"/>
                  </a:cubicBezTo>
                  <a:cubicBezTo>
                    <a:pt x="257" y="42"/>
                    <a:pt x="220" y="18"/>
                    <a:pt x="220" y="18"/>
                  </a:cubicBezTo>
                  <a:cubicBezTo>
                    <a:pt x="220" y="18"/>
                    <a:pt x="196" y="55"/>
                    <a:pt x="183" y="67"/>
                  </a:cubicBezTo>
                  <a:cubicBezTo>
                    <a:pt x="171" y="79"/>
                    <a:pt x="149" y="102"/>
                    <a:pt x="138" y="100"/>
                  </a:cubicBezTo>
                  <a:cubicBezTo>
                    <a:pt x="128" y="98"/>
                    <a:pt x="116" y="0"/>
                    <a:pt x="58" y="58"/>
                  </a:cubicBezTo>
                  <a:cubicBezTo>
                    <a:pt x="0" y="116"/>
                    <a:pt x="96" y="130"/>
                    <a:pt x="100" y="138"/>
                  </a:cubicBezTo>
                  <a:cubicBezTo>
                    <a:pt x="104" y="147"/>
                    <a:pt x="79" y="171"/>
                    <a:pt x="67" y="183"/>
                  </a:cubicBezTo>
                  <a:cubicBezTo>
                    <a:pt x="55" y="196"/>
                    <a:pt x="18" y="220"/>
                    <a:pt x="18" y="220"/>
                  </a:cubicBezTo>
                  <a:cubicBezTo>
                    <a:pt x="18" y="220"/>
                    <a:pt x="42" y="257"/>
                    <a:pt x="55" y="269"/>
                  </a:cubicBezTo>
                  <a:cubicBezTo>
                    <a:pt x="67" y="281"/>
                    <a:pt x="91" y="306"/>
                    <a:pt x="100" y="302"/>
                  </a:cubicBezTo>
                  <a:cubicBezTo>
                    <a:pt x="108" y="298"/>
                    <a:pt x="122" y="202"/>
                    <a:pt x="180" y="260"/>
                  </a:cubicBezTo>
                  <a:cubicBezTo>
                    <a:pt x="238" y="318"/>
                    <a:pt x="140" y="330"/>
                    <a:pt x="138" y="341"/>
                  </a:cubicBezTo>
                  <a:cubicBezTo>
                    <a:pt x="136" y="351"/>
                    <a:pt x="159" y="373"/>
                    <a:pt x="171" y="386"/>
                  </a:cubicBezTo>
                  <a:cubicBezTo>
                    <a:pt x="183" y="398"/>
                    <a:pt x="220" y="422"/>
                    <a:pt x="220" y="422"/>
                  </a:cubicBezTo>
                  <a:lnTo>
                    <a:pt x="422" y="2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316244" y="3172634"/>
              <a:ext cx="255342" cy="224444"/>
              <a:chOff x="681704" y="2920137"/>
              <a:chExt cx="321649" cy="282726"/>
            </a:xfrm>
            <a:grpFill/>
          </p:grpSpPr>
          <p:sp>
            <p:nvSpPr>
              <p:cNvPr id="25" name="Freeform 34"/>
              <p:cNvSpPr>
                <a:spLocks/>
              </p:cNvSpPr>
              <p:nvPr/>
            </p:nvSpPr>
            <p:spPr bwMode="auto">
              <a:xfrm>
                <a:off x="681704" y="2920137"/>
                <a:ext cx="270621" cy="210107"/>
              </a:xfrm>
              <a:custGeom>
                <a:avLst/>
                <a:gdLst>
                  <a:gd name="T0" fmla="*/ 270 w 1048"/>
                  <a:gd name="T1" fmla="*/ 104 h 814"/>
                  <a:gd name="T2" fmla="*/ 328 w 1048"/>
                  <a:gd name="T3" fmla="*/ 81 h 814"/>
                  <a:gd name="T4" fmla="*/ 967 w 1048"/>
                  <a:gd name="T5" fmla="*/ 81 h 814"/>
                  <a:gd name="T6" fmla="*/ 967 w 1048"/>
                  <a:gd name="T7" fmla="*/ 142 h 814"/>
                  <a:gd name="T8" fmla="*/ 1048 w 1048"/>
                  <a:gd name="T9" fmla="*/ 142 h 814"/>
                  <a:gd name="T10" fmla="*/ 1048 w 1048"/>
                  <a:gd name="T11" fmla="*/ 0 h 814"/>
                  <a:gd name="T12" fmla="*/ 328 w 1048"/>
                  <a:gd name="T13" fmla="*/ 0 h 814"/>
                  <a:gd name="T14" fmla="*/ 205 w 1048"/>
                  <a:gd name="T15" fmla="*/ 56 h 814"/>
                  <a:gd name="T16" fmla="*/ 38 w 1048"/>
                  <a:gd name="T17" fmla="*/ 318 h 814"/>
                  <a:gd name="T18" fmla="*/ 0 w 1048"/>
                  <a:gd name="T19" fmla="*/ 426 h 814"/>
                  <a:gd name="T20" fmla="*/ 0 w 1048"/>
                  <a:gd name="T21" fmla="*/ 814 h 814"/>
                  <a:gd name="T22" fmla="*/ 240 w 1048"/>
                  <a:gd name="T23" fmla="*/ 814 h 814"/>
                  <a:gd name="T24" fmla="*/ 240 w 1048"/>
                  <a:gd name="T25" fmla="*/ 733 h 814"/>
                  <a:gd name="T26" fmla="*/ 81 w 1048"/>
                  <a:gd name="T27" fmla="*/ 733 h 814"/>
                  <a:gd name="T28" fmla="*/ 81 w 1048"/>
                  <a:gd name="T29" fmla="*/ 426 h 814"/>
                  <a:gd name="T30" fmla="*/ 280 w 1048"/>
                  <a:gd name="T31" fmla="*/ 297 h 814"/>
                  <a:gd name="T32" fmla="*/ 270 w 1048"/>
                  <a:gd name="T33" fmla="*/ 104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48" h="814">
                    <a:moveTo>
                      <a:pt x="270" y="104"/>
                    </a:moveTo>
                    <a:cubicBezTo>
                      <a:pt x="274" y="98"/>
                      <a:pt x="287" y="81"/>
                      <a:pt x="328" y="81"/>
                    </a:cubicBezTo>
                    <a:cubicBezTo>
                      <a:pt x="967" y="81"/>
                      <a:pt x="967" y="81"/>
                      <a:pt x="967" y="81"/>
                    </a:cubicBezTo>
                    <a:cubicBezTo>
                      <a:pt x="967" y="142"/>
                      <a:pt x="967" y="142"/>
                      <a:pt x="967" y="142"/>
                    </a:cubicBezTo>
                    <a:cubicBezTo>
                      <a:pt x="1048" y="142"/>
                      <a:pt x="1048" y="142"/>
                      <a:pt x="1048" y="142"/>
                    </a:cubicBezTo>
                    <a:cubicBezTo>
                      <a:pt x="1048" y="0"/>
                      <a:pt x="1048" y="0"/>
                      <a:pt x="1048" y="0"/>
                    </a:cubicBezTo>
                    <a:cubicBezTo>
                      <a:pt x="328" y="0"/>
                      <a:pt x="328" y="0"/>
                      <a:pt x="328" y="0"/>
                    </a:cubicBezTo>
                    <a:cubicBezTo>
                      <a:pt x="260" y="0"/>
                      <a:pt x="223" y="30"/>
                      <a:pt x="205" y="56"/>
                    </a:cubicBezTo>
                    <a:cubicBezTo>
                      <a:pt x="38" y="318"/>
                      <a:pt x="38" y="318"/>
                      <a:pt x="38" y="318"/>
                    </a:cubicBezTo>
                    <a:cubicBezTo>
                      <a:pt x="19" y="345"/>
                      <a:pt x="0" y="383"/>
                      <a:pt x="0" y="426"/>
                    </a:cubicBezTo>
                    <a:cubicBezTo>
                      <a:pt x="0" y="814"/>
                      <a:pt x="0" y="814"/>
                      <a:pt x="0" y="814"/>
                    </a:cubicBezTo>
                    <a:cubicBezTo>
                      <a:pt x="240" y="814"/>
                      <a:pt x="240" y="814"/>
                      <a:pt x="240" y="814"/>
                    </a:cubicBezTo>
                    <a:cubicBezTo>
                      <a:pt x="240" y="733"/>
                      <a:pt x="240" y="733"/>
                      <a:pt x="240" y="733"/>
                    </a:cubicBezTo>
                    <a:cubicBezTo>
                      <a:pt x="81" y="733"/>
                      <a:pt x="81" y="733"/>
                      <a:pt x="81" y="733"/>
                    </a:cubicBezTo>
                    <a:cubicBezTo>
                      <a:pt x="81" y="426"/>
                      <a:pt x="81" y="426"/>
                      <a:pt x="81" y="426"/>
                    </a:cubicBezTo>
                    <a:cubicBezTo>
                      <a:pt x="81" y="357"/>
                      <a:pt x="213" y="303"/>
                      <a:pt x="280" y="297"/>
                    </a:cubicBezTo>
                    <a:cubicBezTo>
                      <a:pt x="258" y="241"/>
                      <a:pt x="241" y="148"/>
                      <a:pt x="27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" name="Freeform 35"/>
              <p:cNvSpPr>
                <a:spLocks noEditPoints="1"/>
              </p:cNvSpPr>
              <p:nvPr/>
            </p:nvSpPr>
            <p:spPr bwMode="auto">
              <a:xfrm>
                <a:off x="760426" y="2959066"/>
                <a:ext cx="242927" cy="243797"/>
              </a:xfrm>
              <a:custGeom>
                <a:avLst/>
                <a:gdLst>
                  <a:gd name="T0" fmla="*/ 327 w 941"/>
                  <a:gd name="T1" fmla="*/ 277 h 944"/>
                  <a:gd name="T2" fmla="*/ 327 w 941"/>
                  <a:gd name="T3" fmla="*/ 321 h 944"/>
                  <a:gd name="T4" fmla="*/ 344 w 941"/>
                  <a:gd name="T5" fmla="*/ 338 h 944"/>
                  <a:gd name="T6" fmla="*/ 45 w 941"/>
                  <a:gd name="T7" fmla="*/ 510 h 944"/>
                  <a:gd name="T8" fmla="*/ 44 w 941"/>
                  <a:gd name="T9" fmla="*/ 547 h 944"/>
                  <a:gd name="T10" fmla="*/ 0 w 941"/>
                  <a:gd name="T11" fmla="*/ 640 h 944"/>
                  <a:gd name="T12" fmla="*/ 72 w 941"/>
                  <a:gd name="T13" fmla="*/ 596 h 944"/>
                  <a:gd name="T14" fmla="*/ 87 w 941"/>
                  <a:gd name="T15" fmla="*/ 595 h 944"/>
                  <a:gd name="T16" fmla="*/ 414 w 941"/>
                  <a:gd name="T17" fmla="*/ 408 h 944"/>
                  <a:gd name="T18" fmla="*/ 449 w 941"/>
                  <a:gd name="T19" fmla="*/ 443 h 944"/>
                  <a:gd name="T20" fmla="*/ 443 w 941"/>
                  <a:gd name="T21" fmla="*/ 449 h 944"/>
                  <a:gd name="T22" fmla="*/ 443 w 941"/>
                  <a:gd name="T23" fmla="*/ 502 h 944"/>
                  <a:gd name="T24" fmla="*/ 496 w 941"/>
                  <a:gd name="T25" fmla="*/ 502 h 944"/>
                  <a:gd name="T26" fmla="*/ 502 w 941"/>
                  <a:gd name="T27" fmla="*/ 496 h 944"/>
                  <a:gd name="T28" fmla="*/ 536 w 941"/>
                  <a:gd name="T29" fmla="*/ 530 h 944"/>
                  <a:gd name="T30" fmla="*/ 349 w 941"/>
                  <a:gd name="T31" fmla="*/ 855 h 944"/>
                  <a:gd name="T32" fmla="*/ 348 w 941"/>
                  <a:gd name="T33" fmla="*/ 872 h 944"/>
                  <a:gd name="T34" fmla="*/ 304 w 941"/>
                  <a:gd name="T35" fmla="*/ 944 h 944"/>
                  <a:gd name="T36" fmla="*/ 396 w 941"/>
                  <a:gd name="T37" fmla="*/ 899 h 944"/>
                  <a:gd name="T38" fmla="*/ 433 w 941"/>
                  <a:gd name="T39" fmla="*/ 899 h 944"/>
                  <a:gd name="T40" fmla="*/ 605 w 941"/>
                  <a:gd name="T41" fmla="*/ 599 h 944"/>
                  <a:gd name="T42" fmla="*/ 624 w 941"/>
                  <a:gd name="T43" fmla="*/ 618 h 944"/>
                  <a:gd name="T44" fmla="*/ 668 w 941"/>
                  <a:gd name="T45" fmla="*/ 618 h 944"/>
                  <a:gd name="T46" fmla="*/ 668 w 941"/>
                  <a:gd name="T47" fmla="*/ 575 h 944"/>
                  <a:gd name="T48" fmla="*/ 637 w 941"/>
                  <a:gd name="T49" fmla="*/ 544 h 944"/>
                  <a:gd name="T50" fmla="*/ 747 w 941"/>
                  <a:gd name="T51" fmla="*/ 353 h 944"/>
                  <a:gd name="T52" fmla="*/ 843 w 941"/>
                  <a:gd name="T53" fmla="*/ 310 h 944"/>
                  <a:gd name="T54" fmla="*/ 866 w 941"/>
                  <a:gd name="T55" fmla="*/ 132 h 944"/>
                  <a:gd name="T56" fmla="*/ 927 w 941"/>
                  <a:gd name="T57" fmla="*/ 71 h 944"/>
                  <a:gd name="T58" fmla="*/ 927 w 941"/>
                  <a:gd name="T59" fmla="*/ 18 h 944"/>
                  <a:gd name="T60" fmla="*/ 874 w 941"/>
                  <a:gd name="T61" fmla="*/ 18 h 944"/>
                  <a:gd name="T62" fmla="*/ 813 w 941"/>
                  <a:gd name="T63" fmla="*/ 79 h 944"/>
                  <a:gd name="T64" fmla="*/ 635 w 941"/>
                  <a:gd name="T65" fmla="*/ 102 h 944"/>
                  <a:gd name="T66" fmla="*/ 592 w 941"/>
                  <a:gd name="T67" fmla="*/ 196 h 944"/>
                  <a:gd name="T68" fmla="*/ 400 w 941"/>
                  <a:gd name="T69" fmla="*/ 306 h 944"/>
                  <a:gd name="T70" fmla="*/ 370 w 941"/>
                  <a:gd name="T71" fmla="*/ 277 h 944"/>
                  <a:gd name="T72" fmla="*/ 327 w 941"/>
                  <a:gd name="T73" fmla="*/ 277 h 944"/>
                  <a:gd name="T74" fmla="*/ 500 w 941"/>
                  <a:gd name="T75" fmla="*/ 393 h 944"/>
                  <a:gd name="T76" fmla="*/ 493 w 941"/>
                  <a:gd name="T77" fmla="*/ 399 h 944"/>
                  <a:gd name="T78" fmla="*/ 470 w 941"/>
                  <a:gd name="T79" fmla="*/ 376 h 944"/>
                  <a:gd name="T80" fmla="*/ 618 w 941"/>
                  <a:gd name="T81" fmla="*/ 290 h 944"/>
                  <a:gd name="T82" fmla="*/ 635 w 941"/>
                  <a:gd name="T83" fmla="*/ 310 h 944"/>
                  <a:gd name="T84" fmla="*/ 653 w 941"/>
                  <a:gd name="T85" fmla="*/ 325 h 944"/>
                  <a:gd name="T86" fmla="*/ 568 w 941"/>
                  <a:gd name="T87" fmla="*/ 474 h 944"/>
                  <a:gd name="T88" fmla="*/ 546 w 941"/>
                  <a:gd name="T89" fmla="*/ 452 h 944"/>
                  <a:gd name="T90" fmla="*/ 552 w 941"/>
                  <a:gd name="T91" fmla="*/ 445 h 944"/>
                  <a:gd name="T92" fmla="*/ 552 w 941"/>
                  <a:gd name="T93" fmla="*/ 393 h 944"/>
                  <a:gd name="T94" fmla="*/ 500 w 941"/>
                  <a:gd name="T95" fmla="*/ 393 h 944"/>
                  <a:gd name="T96" fmla="*/ 739 w 941"/>
                  <a:gd name="T97" fmla="*/ 270 h 944"/>
                  <a:gd name="T98" fmla="*/ 675 w 941"/>
                  <a:gd name="T99" fmla="*/ 206 h 944"/>
                  <a:gd name="T100" fmla="*/ 739 w 941"/>
                  <a:gd name="T101" fmla="*/ 142 h 944"/>
                  <a:gd name="T102" fmla="*/ 803 w 941"/>
                  <a:gd name="T103" fmla="*/ 206 h 944"/>
                  <a:gd name="T104" fmla="*/ 739 w 941"/>
                  <a:gd name="T105" fmla="*/ 270 h 9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41" h="944">
                    <a:moveTo>
                      <a:pt x="327" y="277"/>
                    </a:moveTo>
                    <a:cubicBezTo>
                      <a:pt x="314" y="289"/>
                      <a:pt x="314" y="308"/>
                      <a:pt x="327" y="321"/>
                    </a:cubicBezTo>
                    <a:cubicBezTo>
                      <a:pt x="344" y="338"/>
                      <a:pt x="344" y="338"/>
                      <a:pt x="344" y="338"/>
                    </a:cubicBezTo>
                    <a:cubicBezTo>
                      <a:pt x="45" y="510"/>
                      <a:pt x="45" y="510"/>
                      <a:pt x="45" y="510"/>
                    </a:cubicBezTo>
                    <a:cubicBezTo>
                      <a:pt x="44" y="547"/>
                      <a:pt x="44" y="547"/>
                      <a:pt x="44" y="547"/>
                    </a:cubicBezTo>
                    <a:cubicBezTo>
                      <a:pt x="0" y="640"/>
                      <a:pt x="0" y="640"/>
                      <a:pt x="0" y="640"/>
                    </a:cubicBezTo>
                    <a:cubicBezTo>
                      <a:pt x="72" y="596"/>
                      <a:pt x="72" y="596"/>
                      <a:pt x="72" y="596"/>
                    </a:cubicBezTo>
                    <a:cubicBezTo>
                      <a:pt x="87" y="595"/>
                      <a:pt x="87" y="595"/>
                      <a:pt x="87" y="595"/>
                    </a:cubicBezTo>
                    <a:cubicBezTo>
                      <a:pt x="414" y="408"/>
                      <a:pt x="414" y="408"/>
                      <a:pt x="414" y="408"/>
                    </a:cubicBezTo>
                    <a:cubicBezTo>
                      <a:pt x="449" y="443"/>
                      <a:pt x="449" y="443"/>
                      <a:pt x="449" y="443"/>
                    </a:cubicBezTo>
                    <a:cubicBezTo>
                      <a:pt x="443" y="449"/>
                      <a:pt x="443" y="449"/>
                      <a:pt x="443" y="449"/>
                    </a:cubicBezTo>
                    <a:cubicBezTo>
                      <a:pt x="429" y="464"/>
                      <a:pt x="429" y="487"/>
                      <a:pt x="443" y="502"/>
                    </a:cubicBezTo>
                    <a:cubicBezTo>
                      <a:pt x="455" y="514"/>
                      <a:pt x="478" y="519"/>
                      <a:pt x="496" y="502"/>
                    </a:cubicBezTo>
                    <a:cubicBezTo>
                      <a:pt x="502" y="496"/>
                      <a:pt x="502" y="496"/>
                      <a:pt x="502" y="496"/>
                    </a:cubicBezTo>
                    <a:cubicBezTo>
                      <a:pt x="536" y="530"/>
                      <a:pt x="536" y="530"/>
                      <a:pt x="536" y="530"/>
                    </a:cubicBezTo>
                    <a:cubicBezTo>
                      <a:pt x="349" y="855"/>
                      <a:pt x="349" y="855"/>
                      <a:pt x="349" y="855"/>
                    </a:cubicBezTo>
                    <a:cubicBezTo>
                      <a:pt x="348" y="872"/>
                      <a:pt x="348" y="872"/>
                      <a:pt x="348" y="872"/>
                    </a:cubicBezTo>
                    <a:cubicBezTo>
                      <a:pt x="304" y="944"/>
                      <a:pt x="304" y="944"/>
                      <a:pt x="304" y="944"/>
                    </a:cubicBezTo>
                    <a:cubicBezTo>
                      <a:pt x="396" y="899"/>
                      <a:pt x="396" y="899"/>
                      <a:pt x="396" y="899"/>
                    </a:cubicBezTo>
                    <a:cubicBezTo>
                      <a:pt x="433" y="899"/>
                      <a:pt x="433" y="899"/>
                      <a:pt x="433" y="899"/>
                    </a:cubicBezTo>
                    <a:cubicBezTo>
                      <a:pt x="605" y="599"/>
                      <a:pt x="605" y="599"/>
                      <a:pt x="605" y="599"/>
                    </a:cubicBezTo>
                    <a:cubicBezTo>
                      <a:pt x="624" y="618"/>
                      <a:pt x="624" y="618"/>
                      <a:pt x="624" y="618"/>
                    </a:cubicBezTo>
                    <a:cubicBezTo>
                      <a:pt x="632" y="627"/>
                      <a:pt x="653" y="634"/>
                      <a:pt x="668" y="618"/>
                    </a:cubicBezTo>
                    <a:cubicBezTo>
                      <a:pt x="680" y="606"/>
                      <a:pt x="680" y="587"/>
                      <a:pt x="668" y="575"/>
                    </a:cubicBezTo>
                    <a:cubicBezTo>
                      <a:pt x="637" y="544"/>
                      <a:pt x="637" y="544"/>
                      <a:pt x="637" y="544"/>
                    </a:cubicBezTo>
                    <a:cubicBezTo>
                      <a:pt x="747" y="353"/>
                      <a:pt x="747" y="353"/>
                      <a:pt x="747" y="353"/>
                    </a:cubicBezTo>
                    <a:cubicBezTo>
                      <a:pt x="782" y="351"/>
                      <a:pt x="816" y="337"/>
                      <a:pt x="843" y="310"/>
                    </a:cubicBezTo>
                    <a:cubicBezTo>
                      <a:pt x="891" y="262"/>
                      <a:pt x="899" y="188"/>
                      <a:pt x="866" y="132"/>
                    </a:cubicBezTo>
                    <a:cubicBezTo>
                      <a:pt x="927" y="71"/>
                      <a:pt x="927" y="71"/>
                      <a:pt x="927" y="71"/>
                    </a:cubicBezTo>
                    <a:cubicBezTo>
                      <a:pt x="941" y="56"/>
                      <a:pt x="941" y="33"/>
                      <a:pt x="927" y="18"/>
                    </a:cubicBezTo>
                    <a:cubicBezTo>
                      <a:pt x="908" y="0"/>
                      <a:pt x="883" y="9"/>
                      <a:pt x="874" y="18"/>
                    </a:cubicBezTo>
                    <a:cubicBezTo>
                      <a:pt x="813" y="79"/>
                      <a:pt x="813" y="79"/>
                      <a:pt x="813" y="79"/>
                    </a:cubicBezTo>
                    <a:cubicBezTo>
                      <a:pt x="758" y="47"/>
                      <a:pt x="685" y="54"/>
                      <a:pt x="635" y="102"/>
                    </a:cubicBezTo>
                    <a:cubicBezTo>
                      <a:pt x="608" y="127"/>
                      <a:pt x="595" y="162"/>
                      <a:pt x="592" y="196"/>
                    </a:cubicBezTo>
                    <a:cubicBezTo>
                      <a:pt x="400" y="306"/>
                      <a:pt x="400" y="306"/>
                      <a:pt x="400" y="306"/>
                    </a:cubicBezTo>
                    <a:cubicBezTo>
                      <a:pt x="370" y="277"/>
                      <a:pt x="370" y="277"/>
                      <a:pt x="370" y="277"/>
                    </a:cubicBezTo>
                    <a:cubicBezTo>
                      <a:pt x="359" y="267"/>
                      <a:pt x="341" y="263"/>
                      <a:pt x="327" y="277"/>
                    </a:cubicBezTo>
                    <a:close/>
                    <a:moveTo>
                      <a:pt x="500" y="393"/>
                    </a:moveTo>
                    <a:cubicBezTo>
                      <a:pt x="493" y="399"/>
                      <a:pt x="493" y="399"/>
                      <a:pt x="493" y="399"/>
                    </a:cubicBezTo>
                    <a:cubicBezTo>
                      <a:pt x="470" y="376"/>
                      <a:pt x="470" y="376"/>
                      <a:pt x="470" y="376"/>
                    </a:cubicBezTo>
                    <a:cubicBezTo>
                      <a:pt x="618" y="290"/>
                      <a:pt x="618" y="290"/>
                      <a:pt x="618" y="290"/>
                    </a:cubicBezTo>
                    <a:cubicBezTo>
                      <a:pt x="623" y="297"/>
                      <a:pt x="629" y="304"/>
                      <a:pt x="635" y="310"/>
                    </a:cubicBezTo>
                    <a:cubicBezTo>
                      <a:pt x="641" y="316"/>
                      <a:pt x="647" y="321"/>
                      <a:pt x="653" y="325"/>
                    </a:cubicBezTo>
                    <a:cubicBezTo>
                      <a:pt x="568" y="474"/>
                      <a:pt x="568" y="474"/>
                      <a:pt x="568" y="474"/>
                    </a:cubicBezTo>
                    <a:cubicBezTo>
                      <a:pt x="546" y="452"/>
                      <a:pt x="546" y="452"/>
                      <a:pt x="546" y="452"/>
                    </a:cubicBezTo>
                    <a:cubicBezTo>
                      <a:pt x="552" y="445"/>
                      <a:pt x="552" y="445"/>
                      <a:pt x="552" y="445"/>
                    </a:cubicBezTo>
                    <a:cubicBezTo>
                      <a:pt x="567" y="431"/>
                      <a:pt x="567" y="407"/>
                      <a:pt x="552" y="393"/>
                    </a:cubicBezTo>
                    <a:cubicBezTo>
                      <a:pt x="535" y="376"/>
                      <a:pt x="513" y="380"/>
                      <a:pt x="500" y="393"/>
                    </a:cubicBezTo>
                    <a:close/>
                    <a:moveTo>
                      <a:pt x="739" y="270"/>
                    </a:moveTo>
                    <a:cubicBezTo>
                      <a:pt x="703" y="270"/>
                      <a:pt x="675" y="241"/>
                      <a:pt x="675" y="206"/>
                    </a:cubicBezTo>
                    <a:cubicBezTo>
                      <a:pt x="675" y="171"/>
                      <a:pt x="703" y="142"/>
                      <a:pt x="739" y="142"/>
                    </a:cubicBezTo>
                    <a:cubicBezTo>
                      <a:pt x="774" y="142"/>
                      <a:pt x="803" y="171"/>
                      <a:pt x="803" y="206"/>
                    </a:cubicBezTo>
                    <a:cubicBezTo>
                      <a:pt x="803" y="241"/>
                      <a:pt x="774" y="270"/>
                      <a:pt x="73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8" name="Group 379"/>
            <p:cNvGrpSpPr/>
            <p:nvPr/>
          </p:nvGrpSpPr>
          <p:grpSpPr>
            <a:xfrm>
              <a:off x="313305" y="4124026"/>
              <a:ext cx="276799" cy="192696"/>
              <a:chOff x="3543365" y="7242824"/>
              <a:chExt cx="1238250" cy="862020"/>
            </a:xfrm>
            <a:grpFill/>
          </p:grpSpPr>
          <p:sp>
            <p:nvSpPr>
              <p:cNvPr id="9" name="Freeform 127"/>
              <p:cNvSpPr>
                <a:spLocks/>
              </p:cNvSpPr>
              <p:nvPr/>
            </p:nvSpPr>
            <p:spPr bwMode="auto">
              <a:xfrm>
                <a:off x="3617978" y="7911159"/>
                <a:ext cx="231778" cy="193672"/>
              </a:xfrm>
              <a:custGeom>
                <a:avLst/>
                <a:gdLst>
                  <a:gd name="T0" fmla="*/ 0 w 146"/>
                  <a:gd name="T1" fmla="*/ 8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120 w 146"/>
                  <a:gd name="T9" fmla="*/ 0 h 122"/>
                  <a:gd name="T10" fmla="*/ 0 w 146"/>
                  <a:gd name="T11" fmla="*/ 8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8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120" y="0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" name="Freeform 128"/>
              <p:cNvSpPr>
                <a:spLocks/>
              </p:cNvSpPr>
              <p:nvPr/>
            </p:nvSpPr>
            <p:spPr bwMode="auto">
              <a:xfrm>
                <a:off x="3617978" y="7688905"/>
                <a:ext cx="231778" cy="192087"/>
              </a:xfrm>
              <a:custGeom>
                <a:avLst/>
                <a:gdLst>
                  <a:gd name="T0" fmla="*/ 146 w 146"/>
                  <a:gd name="T1" fmla="*/ 0 h 121"/>
                  <a:gd name="T2" fmla="*/ 0 w 146"/>
                  <a:gd name="T3" fmla="*/ 0 h 121"/>
                  <a:gd name="T4" fmla="*/ 0 w 146"/>
                  <a:gd name="T5" fmla="*/ 121 h 121"/>
                  <a:gd name="T6" fmla="*/ 146 w 146"/>
                  <a:gd name="T7" fmla="*/ 19 h 121"/>
                  <a:gd name="T8" fmla="*/ 146 w 146"/>
                  <a:gd name="T9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121">
                    <a:moveTo>
                      <a:pt x="146" y="0"/>
                    </a:moveTo>
                    <a:lnTo>
                      <a:pt x="0" y="0"/>
                    </a:lnTo>
                    <a:lnTo>
                      <a:pt x="0" y="121"/>
                    </a:lnTo>
                    <a:lnTo>
                      <a:pt x="146" y="19"/>
                    </a:lnTo>
                    <a:lnTo>
                      <a:pt x="14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1" name="Rectangle 129"/>
              <p:cNvSpPr>
                <a:spLocks noChangeArrowheads="1"/>
              </p:cNvSpPr>
              <p:nvPr/>
            </p:nvSpPr>
            <p:spPr bwMode="auto">
              <a:xfrm>
                <a:off x="3617978" y="7466657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" name="Rectangle 130"/>
              <p:cNvSpPr>
                <a:spLocks noChangeArrowheads="1"/>
              </p:cNvSpPr>
              <p:nvPr/>
            </p:nvSpPr>
            <p:spPr bwMode="auto">
              <a:xfrm>
                <a:off x="3617978" y="7242824"/>
                <a:ext cx="231778" cy="19526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" name="Freeform 131"/>
              <p:cNvSpPr>
                <a:spLocks/>
              </p:cNvSpPr>
              <p:nvPr/>
            </p:nvSpPr>
            <p:spPr bwMode="auto">
              <a:xfrm>
                <a:off x="3895793" y="7911172"/>
                <a:ext cx="230186" cy="193672"/>
              </a:xfrm>
              <a:custGeom>
                <a:avLst/>
                <a:gdLst>
                  <a:gd name="T0" fmla="*/ 0 w 250"/>
                  <a:gd name="T1" fmla="*/ 210 h 210"/>
                  <a:gd name="T2" fmla="*/ 250 w 250"/>
                  <a:gd name="T3" fmla="*/ 210 h 210"/>
                  <a:gd name="T4" fmla="*/ 250 w 250"/>
                  <a:gd name="T5" fmla="*/ 3 h 210"/>
                  <a:gd name="T6" fmla="*/ 249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" h="210">
                    <a:moveTo>
                      <a:pt x="0" y="210"/>
                    </a:move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3"/>
                      <a:pt x="250" y="3"/>
                      <a:pt x="250" y="3"/>
                    </a:cubicBezTo>
                    <a:cubicBezTo>
                      <a:pt x="250" y="2"/>
                      <a:pt x="249" y="1"/>
                      <a:pt x="249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" name="Freeform 132"/>
              <p:cNvSpPr>
                <a:spLocks/>
              </p:cNvSpPr>
              <p:nvPr/>
            </p:nvSpPr>
            <p:spPr bwMode="auto">
              <a:xfrm>
                <a:off x="4125979" y="7688918"/>
                <a:ext cx="0" cy="6353"/>
              </a:xfrm>
              <a:custGeom>
                <a:avLst/>
                <a:gdLst>
                  <a:gd name="T0" fmla="*/ 1 w 1"/>
                  <a:gd name="T1" fmla="*/ 0 h 8"/>
                  <a:gd name="T2" fmla="*/ 0 w 1"/>
                  <a:gd name="T3" fmla="*/ 0 h 8"/>
                  <a:gd name="T4" fmla="*/ 1 w 1"/>
                  <a:gd name="T5" fmla="*/ 8 h 8"/>
                  <a:gd name="T6" fmla="*/ 1 w 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" name="Freeform 133"/>
              <p:cNvSpPr>
                <a:spLocks/>
              </p:cNvSpPr>
              <p:nvPr/>
            </p:nvSpPr>
            <p:spPr bwMode="auto">
              <a:xfrm>
                <a:off x="3895793" y="7812745"/>
                <a:ext cx="219078" cy="69852"/>
              </a:xfrm>
              <a:custGeom>
                <a:avLst/>
                <a:gdLst>
                  <a:gd name="T0" fmla="*/ 186 w 238"/>
                  <a:gd name="T1" fmla="*/ 9 h 76"/>
                  <a:gd name="T2" fmla="*/ 131 w 238"/>
                  <a:gd name="T3" fmla="*/ 22 h 76"/>
                  <a:gd name="T4" fmla="*/ 60 w 238"/>
                  <a:gd name="T5" fmla="*/ 0 h 76"/>
                  <a:gd name="T6" fmla="*/ 0 w 238"/>
                  <a:gd name="T7" fmla="*/ 42 h 76"/>
                  <a:gd name="T8" fmla="*/ 0 w 238"/>
                  <a:gd name="T9" fmla="*/ 76 h 76"/>
                  <a:gd name="T10" fmla="*/ 238 w 238"/>
                  <a:gd name="T11" fmla="*/ 76 h 76"/>
                  <a:gd name="T12" fmla="*/ 236 w 238"/>
                  <a:gd name="T13" fmla="*/ 53 h 76"/>
                  <a:gd name="T14" fmla="*/ 236 w 238"/>
                  <a:gd name="T15" fmla="*/ 49 h 76"/>
                  <a:gd name="T16" fmla="*/ 186 w 238"/>
                  <a:gd name="T17" fmla="*/ 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8" h="76">
                    <a:moveTo>
                      <a:pt x="186" y="9"/>
                    </a:moveTo>
                    <a:cubicBezTo>
                      <a:pt x="169" y="18"/>
                      <a:pt x="150" y="22"/>
                      <a:pt x="131" y="22"/>
                    </a:cubicBezTo>
                    <a:cubicBezTo>
                      <a:pt x="105" y="22"/>
                      <a:pt x="80" y="14"/>
                      <a:pt x="60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38" y="76"/>
                      <a:pt x="238" y="76"/>
                      <a:pt x="238" y="76"/>
                    </a:cubicBezTo>
                    <a:cubicBezTo>
                      <a:pt x="237" y="68"/>
                      <a:pt x="236" y="61"/>
                      <a:pt x="236" y="53"/>
                    </a:cubicBezTo>
                    <a:cubicBezTo>
                      <a:pt x="236" y="51"/>
                      <a:pt x="236" y="50"/>
                      <a:pt x="236" y="49"/>
                    </a:cubicBezTo>
                    <a:lnTo>
                      <a:pt x="18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" name="Freeform 134"/>
              <p:cNvSpPr>
                <a:spLocks/>
              </p:cNvSpPr>
              <p:nvPr/>
            </p:nvSpPr>
            <p:spPr bwMode="auto">
              <a:xfrm>
                <a:off x="3895793" y="7466670"/>
                <a:ext cx="230186" cy="193672"/>
              </a:xfrm>
              <a:custGeom>
                <a:avLst/>
                <a:gdLst>
                  <a:gd name="T0" fmla="*/ 131 w 250"/>
                  <a:gd name="T1" fmla="*/ 153 h 210"/>
                  <a:gd name="T2" fmla="*/ 235 w 250"/>
                  <a:gd name="T3" fmla="*/ 210 h 210"/>
                  <a:gd name="T4" fmla="*/ 250 w 250"/>
                  <a:gd name="T5" fmla="*/ 210 h 210"/>
                  <a:gd name="T6" fmla="*/ 250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  <a:gd name="T12" fmla="*/ 27 w 250"/>
                  <a:gd name="T13" fmla="*/ 210 h 210"/>
                  <a:gd name="T14" fmla="*/ 131 w 250"/>
                  <a:gd name="T15" fmla="*/ 153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10">
                    <a:moveTo>
                      <a:pt x="131" y="153"/>
                    </a:moveTo>
                    <a:cubicBezTo>
                      <a:pt x="175" y="153"/>
                      <a:pt x="213" y="176"/>
                      <a:pt x="235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7" y="210"/>
                      <a:pt x="27" y="210"/>
                      <a:pt x="27" y="210"/>
                    </a:cubicBezTo>
                    <a:cubicBezTo>
                      <a:pt x="49" y="175"/>
                      <a:pt x="88" y="153"/>
                      <a:pt x="131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" name="Freeform 135"/>
              <p:cNvSpPr>
                <a:spLocks/>
              </p:cNvSpPr>
              <p:nvPr/>
            </p:nvSpPr>
            <p:spPr bwMode="auto">
              <a:xfrm>
                <a:off x="4173601" y="7911166"/>
                <a:ext cx="230186" cy="193672"/>
              </a:xfrm>
              <a:custGeom>
                <a:avLst/>
                <a:gdLst>
                  <a:gd name="T0" fmla="*/ 58 w 250"/>
                  <a:gd name="T1" fmla="*/ 69 h 210"/>
                  <a:gd name="T2" fmla="*/ 0 w 250"/>
                  <a:gd name="T3" fmla="*/ 54 h 210"/>
                  <a:gd name="T4" fmla="*/ 0 w 250"/>
                  <a:gd name="T5" fmla="*/ 210 h 210"/>
                  <a:gd name="T6" fmla="*/ 250 w 250"/>
                  <a:gd name="T7" fmla="*/ 210 h 210"/>
                  <a:gd name="T8" fmla="*/ 250 w 250"/>
                  <a:gd name="T9" fmla="*/ 0 h 210"/>
                  <a:gd name="T10" fmla="*/ 168 w 250"/>
                  <a:gd name="T11" fmla="*/ 0 h 210"/>
                  <a:gd name="T12" fmla="*/ 58 w 250"/>
                  <a:gd name="T13" fmla="*/ 69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0" h="210">
                    <a:moveTo>
                      <a:pt x="58" y="69"/>
                    </a:moveTo>
                    <a:cubicBezTo>
                      <a:pt x="37" y="69"/>
                      <a:pt x="17" y="63"/>
                      <a:pt x="0" y="54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48" y="41"/>
                      <a:pt x="106" y="69"/>
                      <a:pt x="58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" name="Freeform 136"/>
              <p:cNvSpPr>
                <a:spLocks/>
              </p:cNvSpPr>
              <p:nvPr/>
            </p:nvSpPr>
            <p:spPr bwMode="auto">
              <a:xfrm>
                <a:off x="4173601" y="7688911"/>
                <a:ext cx="168273" cy="63498"/>
              </a:xfrm>
              <a:custGeom>
                <a:avLst/>
                <a:gdLst>
                  <a:gd name="T0" fmla="*/ 92 w 183"/>
                  <a:gd name="T1" fmla="*/ 70 h 70"/>
                  <a:gd name="T2" fmla="*/ 183 w 183"/>
                  <a:gd name="T3" fmla="*/ 0 h 70"/>
                  <a:gd name="T4" fmla="*/ 0 w 183"/>
                  <a:gd name="T5" fmla="*/ 0 h 70"/>
                  <a:gd name="T6" fmla="*/ 0 w 183"/>
                  <a:gd name="T7" fmla="*/ 49 h 70"/>
                  <a:gd name="T8" fmla="*/ 25 w 183"/>
                  <a:gd name="T9" fmla="*/ 69 h 70"/>
                  <a:gd name="T10" fmla="*/ 92 w 183"/>
                  <a:gd name="T11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3" h="70">
                    <a:moveTo>
                      <a:pt x="92" y="70"/>
                    </a:moveTo>
                    <a:cubicBezTo>
                      <a:pt x="183" y="0"/>
                      <a:pt x="183" y="0"/>
                      <a:pt x="18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25" y="69"/>
                      <a:pt x="25" y="69"/>
                      <a:pt x="25" y="69"/>
                    </a:cubicBezTo>
                    <a:cubicBezTo>
                      <a:pt x="47" y="63"/>
                      <a:pt x="71" y="64"/>
                      <a:pt x="92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" name="Freeform 137"/>
              <p:cNvSpPr>
                <a:spLocks/>
              </p:cNvSpPr>
              <p:nvPr/>
            </p:nvSpPr>
            <p:spPr bwMode="auto">
              <a:xfrm>
                <a:off x="4338704" y="7809561"/>
                <a:ext cx="65090" cy="73028"/>
              </a:xfrm>
              <a:custGeom>
                <a:avLst/>
                <a:gdLst>
                  <a:gd name="T0" fmla="*/ 71 w 71"/>
                  <a:gd name="T1" fmla="*/ 79 h 79"/>
                  <a:gd name="T2" fmla="*/ 71 w 71"/>
                  <a:gd name="T3" fmla="*/ 0 h 79"/>
                  <a:gd name="T4" fmla="*/ 2 w 71"/>
                  <a:gd name="T5" fmla="*/ 53 h 79"/>
                  <a:gd name="T6" fmla="*/ 2 w 71"/>
                  <a:gd name="T7" fmla="*/ 56 h 79"/>
                  <a:gd name="T8" fmla="*/ 0 w 71"/>
                  <a:gd name="T9" fmla="*/ 79 h 79"/>
                  <a:gd name="T10" fmla="*/ 71 w 71"/>
                  <a:gd name="T11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79">
                    <a:moveTo>
                      <a:pt x="71" y="79"/>
                    </a:moveTo>
                    <a:cubicBezTo>
                      <a:pt x="71" y="0"/>
                      <a:pt x="71" y="0"/>
                      <a:pt x="71" y="0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4"/>
                      <a:pt x="2" y="55"/>
                      <a:pt x="2" y="56"/>
                    </a:cubicBezTo>
                    <a:cubicBezTo>
                      <a:pt x="2" y="64"/>
                      <a:pt x="1" y="71"/>
                      <a:pt x="0" y="79"/>
                    </a:cubicBezTo>
                    <a:lnTo>
                      <a:pt x="71" y="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" name="Rectangle 138"/>
              <p:cNvSpPr>
                <a:spLocks noChangeArrowheads="1"/>
              </p:cNvSpPr>
              <p:nvPr/>
            </p:nvSpPr>
            <p:spPr bwMode="auto">
              <a:xfrm>
                <a:off x="4449825" y="7911159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" name="Freeform 139"/>
              <p:cNvSpPr>
                <a:spLocks/>
              </p:cNvSpPr>
              <p:nvPr/>
            </p:nvSpPr>
            <p:spPr bwMode="auto">
              <a:xfrm>
                <a:off x="4449825" y="7688904"/>
                <a:ext cx="231778" cy="193672"/>
              </a:xfrm>
              <a:custGeom>
                <a:avLst/>
                <a:gdLst>
                  <a:gd name="T0" fmla="*/ 0 w 146"/>
                  <a:gd name="T1" fmla="*/ 5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72 w 146"/>
                  <a:gd name="T9" fmla="*/ 0 h 122"/>
                  <a:gd name="T10" fmla="*/ 0 w 146"/>
                  <a:gd name="T11" fmla="*/ 5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5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72" y="0"/>
                    </a:lnTo>
                    <a:lnTo>
                      <a:pt x="0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" name="Freeform 140"/>
              <p:cNvSpPr>
                <a:spLocks/>
              </p:cNvSpPr>
              <p:nvPr/>
            </p:nvSpPr>
            <p:spPr bwMode="auto">
              <a:xfrm>
                <a:off x="4600643" y="7622229"/>
                <a:ext cx="80960" cy="38099"/>
              </a:xfrm>
              <a:custGeom>
                <a:avLst/>
                <a:gdLst>
                  <a:gd name="T0" fmla="*/ 0 w 51"/>
                  <a:gd name="T1" fmla="*/ 24 h 24"/>
                  <a:gd name="T2" fmla="*/ 51 w 51"/>
                  <a:gd name="T3" fmla="*/ 24 h 24"/>
                  <a:gd name="T4" fmla="*/ 32 w 51"/>
                  <a:gd name="T5" fmla="*/ 0 h 24"/>
                  <a:gd name="T6" fmla="*/ 0 w 51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24">
                    <a:moveTo>
                      <a:pt x="0" y="24"/>
                    </a:moveTo>
                    <a:lnTo>
                      <a:pt x="51" y="24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" name="Freeform 141"/>
              <p:cNvSpPr>
                <a:spLocks/>
              </p:cNvSpPr>
              <p:nvPr/>
            </p:nvSpPr>
            <p:spPr bwMode="auto">
              <a:xfrm>
                <a:off x="4449825" y="7466656"/>
                <a:ext cx="119065" cy="139703"/>
              </a:xfrm>
              <a:custGeom>
                <a:avLst/>
                <a:gdLst>
                  <a:gd name="T0" fmla="*/ 52 w 75"/>
                  <a:gd name="T1" fmla="*/ 0 h 88"/>
                  <a:gd name="T2" fmla="*/ 0 w 75"/>
                  <a:gd name="T3" fmla="*/ 0 h 88"/>
                  <a:gd name="T4" fmla="*/ 0 w 75"/>
                  <a:gd name="T5" fmla="*/ 88 h 88"/>
                  <a:gd name="T6" fmla="*/ 75 w 75"/>
                  <a:gd name="T7" fmla="*/ 30 h 88"/>
                  <a:gd name="T8" fmla="*/ 52 w 75"/>
                  <a:gd name="T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88">
                    <a:moveTo>
                      <a:pt x="52" y="0"/>
                    </a:moveTo>
                    <a:lnTo>
                      <a:pt x="0" y="0"/>
                    </a:lnTo>
                    <a:lnTo>
                      <a:pt x="0" y="88"/>
                    </a:lnTo>
                    <a:lnTo>
                      <a:pt x="75" y="30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" name="Freeform 142"/>
              <p:cNvSpPr>
                <a:spLocks noEditPoints="1"/>
              </p:cNvSpPr>
              <p:nvPr/>
            </p:nvSpPr>
            <p:spPr bwMode="auto">
              <a:xfrm>
                <a:off x="3543365" y="7438074"/>
                <a:ext cx="1238250" cy="590552"/>
              </a:xfrm>
              <a:custGeom>
                <a:avLst/>
                <a:gdLst>
                  <a:gd name="T0" fmla="*/ 1029 w 1342"/>
                  <a:gd name="T1" fmla="*/ 198 h 640"/>
                  <a:gd name="T2" fmla="*/ 781 w 1342"/>
                  <a:gd name="T3" fmla="*/ 388 h 640"/>
                  <a:gd name="T4" fmla="*/ 775 w 1342"/>
                  <a:gd name="T5" fmla="*/ 384 h 640"/>
                  <a:gd name="T6" fmla="*/ 764 w 1342"/>
                  <a:gd name="T7" fmla="*/ 380 h 640"/>
                  <a:gd name="T8" fmla="*/ 750 w 1342"/>
                  <a:gd name="T9" fmla="*/ 378 h 640"/>
                  <a:gd name="T10" fmla="*/ 734 w 1342"/>
                  <a:gd name="T11" fmla="*/ 377 h 640"/>
                  <a:gd name="T12" fmla="*/ 724 w 1342"/>
                  <a:gd name="T13" fmla="*/ 379 h 640"/>
                  <a:gd name="T14" fmla="*/ 710 w 1342"/>
                  <a:gd name="T15" fmla="*/ 383 h 640"/>
                  <a:gd name="T16" fmla="*/ 702 w 1342"/>
                  <a:gd name="T17" fmla="*/ 387 h 640"/>
                  <a:gd name="T18" fmla="*/ 595 w 1342"/>
                  <a:gd name="T19" fmla="*/ 304 h 640"/>
                  <a:gd name="T20" fmla="*/ 580 w 1342"/>
                  <a:gd name="T21" fmla="*/ 259 h 640"/>
                  <a:gd name="T22" fmla="*/ 575 w 1342"/>
                  <a:gd name="T23" fmla="*/ 252 h 640"/>
                  <a:gd name="T24" fmla="*/ 564 w 1342"/>
                  <a:gd name="T25" fmla="*/ 242 h 640"/>
                  <a:gd name="T26" fmla="*/ 558 w 1342"/>
                  <a:gd name="T27" fmla="*/ 238 h 640"/>
                  <a:gd name="T28" fmla="*/ 549 w 1342"/>
                  <a:gd name="T29" fmla="*/ 232 h 640"/>
                  <a:gd name="T30" fmla="*/ 537 w 1342"/>
                  <a:gd name="T31" fmla="*/ 227 h 640"/>
                  <a:gd name="T32" fmla="*/ 524 w 1342"/>
                  <a:gd name="T33" fmla="*/ 225 h 640"/>
                  <a:gd name="T34" fmla="*/ 505 w 1342"/>
                  <a:gd name="T35" fmla="*/ 224 h 640"/>
                  <a:gd name="T36" fmla="*/ 494 w 1342"/>
                  <a:gd name="T37" fmla="*/ 226 h 640"/>
                  <a:gd name="T38" fmla="*/ 483 w 1342"/>
                  <a:gd name="T39" fmla="*/ 230 h 640"/>
                  <a:gd name="T40" fmla="*/ 471 w 1342"/>
                  <a:gd name="T41" fmla="*/ 235 h 640"/>
                  <a:gd name="T42" fmla="*/ 462 w 1342"/>
                  <a:gd name="T43" fmla="*/ 241 h 640"/>
                  <a:gd name="T44" fmla="*/ 456 w 1342"/>
                  <a:gd name="T45" fmla="*/ 246 h 640"/>
                  <a:gd name="T46" fmla="*/ 441 w 1342"/>
                  <a:gd name="T47" fmla="*/ 265 h 640"/>
                  <a:gd name="T48" fmla="*/ 438 w 1342"/>
                  <a:gd name="T49" fmla="*/ 272 h 640"/>
                  <a:gd name="T50" fmla="*/ 435 w 1342"/>
                  <a:gd name="T51" fmla="*/ 278 h 640"/>
                  <a:gd name="T52" fmla="*/ 382 w 1342"/>
                  <a:gd name="T53" fmla="*/ 320 h 640"/>
                  <a:gd name="T54" fmla="*/ 103 w 1342"/>
                  <a:gd name="T55" fmla="*/ 514 h 640"/>
                  <a:gd name="T56" fmla="*/ 37 w 1342"/>
                  <a:gd name="T57" fmla="*/ 640 h 640"/>
                  <a:gd name="T58" fmla="*/ 263 w 1342"/>
                  <a:gd name="T59" fmla="*/ 483 h 640"/>
                  <a:gd name="T60" fmla="*/ 446 w 1342"/>
                  <a:gd name="T61" fmla="*/ 355 h 640"/>
                  <a:gd name="T62" fmla="*/ 462 w 1342"/>
                  <a:gd name="T63" fmla="*/ 372 h 640"/>
                  <a:gd name="T64" fmla="*/ 472 w 1342"/>
                  <a:gd name="T65" fmla="*/ 378 h 640"/>
                  <a:gd name="T66" fmla="*/ 482 w 1342"/>
                  <a:gd name="T67" fmla="*/ 383 h 640"/>
                  <a:gd name="T68" fmla="*/ 495 w 1342"/>
                  <a:gd name="T69" fmla="*/ 387 h 640"/>
                  <a:gd name="T70" fmla="*/ 505 w 1342"/>
                  <a:gd name="T71" fmla="*/ 389 h 640"/>
                  <a:gd name="T72" fmla="*/ 525 w 1342"/>
                  <a:gd name="T73" fmla="*/ 388 h 640"/>
                  <a:gd name="T74" fmla="*/ 537 w 1342"/>
                  <a:gd name="T75" fmla="*/ 386 h 640"/>
                  <a:gd name="T76" fmla="*/ 550 w 1342"/>
                  <a:gd name="T77" fmla="*/ 380 h 640"/>
                  <a:gd name="T78" fmla="*/ 557 w 1342"/>
                  <a:gd name="T79" fmla="*/ 376 h 640"/>
                  <a:gd name="T80" fmla="*/ 632 w 1342"/>
                  <a:gd name="T81" fmla="*/ 416 h 640"/>
                  <a:gd name="T82" fmla="*/ 659 w 1342"/>
                  <a:gd name="T83" fmla="*/ 450 h 640"/>
                  <a:gd name="T84" fmla="*/ 683 w 1342"/>
                  <a:gd name="T85" fmla="*/ 518 h 640"/>
                  <a:gd name="T86" fmla="*/ 821 w 1342"/>
                  <a:gd name="T87" fmla="*/ 483 h 640"/>
                  <a:gd name="T88" fmla="*/ 823 w 1342"/>
                  <a:gd name="T89" fmla="*/ 450 h 640"/>
                  <a:gd name="T90" fmla="*/ 933 w 1342"/>
                  <a:gd name="T91" fmla="*/ 354 h 640"/>
                  <a:gd name="T92" fmla="*/ 1080 w 1342"/>
                  <a:gd name="T93" fmla="*/ 241 h 640"/>
                  <a:gd name="T94" fmla="*/ 1256 w 1342"/>
                  <a:gd name="T95" fmla="*/ 206 h 640"/>
                  <a:gd name="T96" fmla="*/ 1122 w 1342"/>
                  <a:gd name="T97" fmla="*/ 31 h 640"/>
                  <a:gd name="T98" fmla="*/ 471 w 1342"/>
                  <a:gd name="T99" fmla="*/ 307 h 640"/>
                  <a:gd name="T100" fmla="*/ 536 w 1342"/>
                  <a:gd name="T101" fmla="*/ 272 h 640"/>
                  <a:gd name="T102" fmla="*/ 513 w 1342"/>
                  <a:gd name="T103" fmla="*/ 348 h 640"/>
                  <a:gd name="T104" fmla="*/ 740 w 1342"/>
                  <a:gd name="T105" fmla="*/ 501 h 640"/>
                  <a:gd name="T106" fmla="*/ 700 w 1342"/>
                  <a:gd name="T107" fmla="*/ 460 h 640"/>
                  <a:gd name="T108" fmla="*/ 781 w 1342"/>
                  <a:gd name="T109" fmla="*/ 471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342" h="640">
                    <a:moveTo>
                      <a:pt x="1122" y="31"/>
                    </a:moveTo>
                    <a:cubicBezTo>
                      <a:pt x="1168" y="91"/>
                      <a:pt x="1168" y="91"/>
                      <a:pt x="1168" y="91"/>
                    </a:cubicBezTo>
                    <a:cubicBezTo>
                      <a:pt x="1029" y="198"/>
                      <a:pt x="1029" y="198"/>
                      <a:pt x="1029" y="198"/>
                    </a:cubicBezTo>
                    <a:cubicBezTo>
                      <a:pt x="983" y="233"/>
                      <a:pt x="983" y="233"/>
                      <a:pt x="983" y="233"/>
                    </a:cubicBezTo>
                    <a:cubicBezTo>
                      <a:pt x="932" y="272"/>
                      <a:pt x="932" y="272"/>
                      <a:pt x="932" y="272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0" y="387"/>
                      <a:pt x="780" y="386"/>
                      <a:pt x="779" y="386"/>
                    </a:cubicBezTo>
                    <a:cubicBezTo>
                      <a:pt x="777" y="385"/>
                      <a:pt x="776" y="385"/>
                      <a:pt x="775" y="384"/>
                    </a:cubicBezTo>
                    <a:cubicBezTo>
                      <a:pt x="774" y="384"/>
                      <a:pt x="773" y="384"/>
                      <a:pt x="772" y="383"/>
                    </a:cubicBezTo>
                    <a:cubicBezTo>
                      <a:pt x="771" y="382"/>
                      <a:pt x="769" y="382"/>
                      <a:pt x="767" y="381"/>
                    </a:cubicBezTo>
                    <a:cubicBezTo>
                      <a:pt x="766" y="381"/>
                      <a:pt x="765" y="381"/>
                      <a:pt x="764" y="380"/>
                    </a:cubicBezTo>
                    <a:cubicBezTo>
                      <a:pt x="762" y="380"/>
                      <a:pt x="761" y="379"/>
                      <a:pt x="759" y="379"/>
                    </a:cubicBezTo>
                    <a:cubicBezTo>
                      <a:pt x="758" y="379"/>
                      <a:pt x="758" y="379"/>
                      <a:pt x="757" y="379"/>
                    </a:cubicBezTo>
                    <a:cubicBezTo>
                      <a:pt x="755" y="378"/>
                      <a:pt x="753" y="378"/>
                      <a:pt x="750" y="378"/>
                    </a:cubicBezTo>
                    <a:cubicBezTo>
                      <a:pt x="750" y="377"/>
                      <a:pt x="749" y="377"/>
                      <a:pt x="749" y="377"/>
                    </a:cubicBezTo>
                    <a:cubicBezTo>
                      <a:pt x="746" y="377"/>
                      <a:pt x="744" y="377"/>
                      <a:pt x="741" y="377"/>
                    </a:cubicBezTo>
                    <a:cubicBezTo>
                      <a:pt x="739" y="377"/>
                      <a:pt x="736" y="377"/>
                      <a:pt x="734" y="377"/>
                    </a:cubicBezTo>
                    <a:cubicBezTo>
                      <a:pt x="733" y="377"/>
                      <a:pt x="732" y="377"/>
                      <a:pt x="732" y="378"/>
                    </a:cubicBezTo>
                    <a:cubicBezTo>
                      <a:pt x="730" y="378"/>
                      <a:pt x="727" y="378"/>
                      <a:pt x="725" y="379"/>
                    </a:cubicBezTo>
                    <a:cubicBezTo>
                      <a:pt x="724" y="379"/>
                      <a:pt x="724" y="379"/>
                      <a:pt x="724" y="379"/>
                    </a:cubicBezTo>
                    <a:cubicBezTo>
                      <a:pt x="721" y="379"/>
                      <a:pt x="719" y="380"/>
                      <a:pt x="717" y="380"/>
                    </a:cubicBezTo>
                    <a:cubicBezTo>
                      <a:pt x="717" y="381"/>
                      <a:pt x="717" y="381"/>
                      <a:pt x="716" y="381"/>
                    </a:cubicBezTo>
                    <a:cubicBezTo>
                      <a:pt x="714" y="382"/>
                      <a:pt x="712" y="382"/>
                      <a:pt x="710" y="383"/>
                    </a:cubicBezTo>
                    <a:cubicBezTo>
                      <a:pt x="709" y="383"/>
                      <a:pt x="709" y="384"/>
                      <a:pt x="708" y="384"/>
                    </a:cubicBezTo>
                    <a:cubicBezTo>
                      <a:pt x="706" y="385"/>
                      <a:pt x="704" y="386"/>
                      <a:pt x="702" y="387"/>
                    </a:cubicBezTo>
                    <a:cubicBezTo>
                      <a:pt x="702" y="387"/>
                      <a:pt x="702" y="387"/>
                      <a:pt x="702" y="387"/>
                    </a:cubicBezTo>
                    <a:cubicBezTo>
                      <a:pt x="683" y="372"/>
                      <a:pt x="683" y="372"/>
                      <a:pt x="683" y="372"/>
                    </a:cubicBezTo>
                    <a:cubicBezTo>
                      <a:pt x="632" y="333"/>
                      <a:pt x="632" y="333"/>
                      <a:pt x="632" y="333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292"/>
                      <a:pt x="592" y="282"/>
                      <a:pt x="588" y="272"/>
                    </a:cubicBezTo>
                    <a:cubicBezTo>
                      <a:pt x="586" y="268"/>
                      <a:pt x="583" y="263"/>
                      <a:pt x="580" y="259"/>
                    </a:cubicBezTo>
                    <a:cubicBezTo>
                      <a:pt x="580" y="259"/>
                      <a:pt x="580" y="259"/>
                      <a:pt x="580" y="259"/>
                    </a:cubicBezTo>
                    <a:cubicBezTo>
                      <a:pt x="579" y="257"/>
                      <a:pt x="577" y="255"/>
                      <a:pt x="575" y="253"/>
                    </a:cubicBezTo>
                    <a:cubicBezTo>
                      <a:pt x="575" y="253"/>
                      <a:pt x="575" y="253"/>
                      <a:pt x="575" y="252"/>
                    </a:cubicBezTo>
                    <a:cubicBezTo>
                      <a:pt x="573" y="251"/>
                      <a:pt x="572" y="249"/>
                      <a:pt x="570" y="247"/>
                    </a:cubicBezTo>
                    <a:cubicBezTo>
                      <a:pt x="570" y="247"/>
                      <a:pt x="570" y="247"/>
                      <a:pt x="569" y="246"/>
                    </a:cubicBezTo>
                    <a:cubicBezTo>
                      <a:pt x="568" y="245"/>
                      <a:pt x="566" y="243"/>
                      <a:pt x="564" y="242"/>
                    </a:cubicBezTo>
                    <a:cubicBezTo>
                      <a:pt x="564" y="242"/>
                      <a:pt x="564" y="242"/>
                      <a:pt x="564" y="241"/>
                    </a:cubicBezTo>
                    <a:cubicBezTo>
                      <a:pt x="563" y="241"/>
                      <a:pt x="563" y="241"/>
                      <a:pt x="563" y="241"/>
                    </a:cubicBezTo>
                    <a:cubicBezTo>
                      <a:pt x="561" y="240"/>
                      <a:pt x="560" y="239"/>
                      <a:pt x="558" y="238"/>
                    </a:cubicBezTo>
                    <a:cubicBezTo>
                      <a:pt x="558" y="237"/>
                      <a:pt x="557" y="237"/>
                      <a:pt x="556" y="236"/>
                    </a:cubicBezTo>
                    <a:cubicBezTo>
                      <a:pt x="555" y="235"/>
                      <a:pt x="553" y="234"/>
                      <a:pt x="552" y="234"/>
                    </a:cubicBezTo>
                    <a:cubicBezTo>
                      <a:pt x="551" y="233"/>
                      <a:pt x="550" y="233"/>
                      <a:pt x="549" y="232"/>
                    </a:cubicBezTo>
                    <a:cubicBezTo>
                      <a:pt x="547" y="232"/>
                      <a:pt x="546" y="231"/>
                      <a:pt x="544" y="230"/>
                    </a:cubicBezTo>
                    <a:cubicBezTo>
                      <a:pt x="543" y="230"/>
                      <a:pt x="542" y="229"/>
                      <a:pt x="541" y="229"/>
                    </a:cubicBezTo>
                    <a:cubicBezTo>
                      <a:pt x="540" y="228"/>
                      <a:pt x="538" y="228"/>
                      <a:pt x="537" y="227"/>
                    </a:cubicBezTo>
                    <a:cubicBezTo>
                      <a:pt x="536" y="227"/>
                      <a:pt x="534" y="227"/>
                      <a:pt x="533" y="226"/>
                    </a:cubicBezTo>
                    <a:cubicBezTo>
                      <a:pt x="532" y="226"/>
                      <a:pt x="530" y="226"/>
                      <a:pt x="529" y="225"/>
                    </a:cubicBezTo>
                    <a:cubicBezTo>
                      <a:pt x="527" y="225"/>
                      <a:pt x="526" y="225"/>
                      <a:pt x="524" y="225"/>
                    </a:cubicBezTo>
                    <a:cubicBezTo>
                      <a:pt x="523" y="225"/>
                      <a:pt x="522" y="224"/>
                      <a:pt x="521" y="224"/>
                    </a:cubicBezTo>
                    <a:cubicBezTo>
                      <a:pt x="518" y="224"/>
                      <a:pt x="516" y="224"/>
                      <a:pt x="513" y="224"/>
                    </a:cubicBezTo>
                    <a:cubicBezTo>
                      <a:pt x="510" y="224"/>
                      <a:pt x="508" y="224"/>
                      <a:pt x="505" y="224"/>
                    </a:cubicBezTo>
                    <a:cubicBezTo>
                      <a:pt x="504" y="224"/>
                      <a:pt x="503" y="224"/>
                      <a:pt x="502" y="224"/>
                    </a:cubicBezTo>
                    <a:cubicBezTo>
                      <a:pt x="501" y="225"/>
                      <a:pt x="499" y="225"/>
                      <a:pt x="497" y="225"/>
                    </a:cubicBezTo>
                    <a:cubicBezTo>
                      <a:pt x="496" y="225"/>
                      <a:pt x="495" y="226"/>
                      <a:pt x="494" y="226"/>
                    </a:cubicBezTo>
                    <a:cubicBezTo>
                      <a:pt x="493" y="226"/>
                      <a:pt x="491" y="227"/>
                      <a:pt x="490" y="227"/>
                    </a:cubicBezTo>
                    <a:cubicBezTo>
                      <a:pt x="489" y="227"/>
                      <a:pt x="488" y="228"/>
                      <a:pt x="487" y="228"/>
                    </a:cubicBezTo>
                    <a:cubicBezTo>
                      <a:pt x="486" y="228"/>
                      <a:pt x="484" y="229"/>
                      <a:pt x="483" y="230"/>
                    </a:cubicBezTo>
                    <a:cubicBezTo>
                      <a:pt x="482" y="230"/>
                      <a:pt x="481" y="230"/>
                      <a:pt x="480" y="231"/>
                    </a:cubicBezTo>
                    <a:cubicBezTo>
                      <a:pt x="478" y="231"/>
                      <a:pt x="476" y="232"/>
                      <a:pt x="474" y="234"/>
                    </a:cubicBezTo>
                    <a:cubicBezTo>
                      <a:pt x="473" y="234"/>
                      <a:pt x="472" y="235"/>
                      <a:pt x="471" y="235"/>
                    </a:cubicBezTo>
                    <a:cubicBezTo>
                      <a:pt x="470" y="236"/>
                      <a:pt x="469" y="237"/>
                      <a:pt x="467" y="237"/>
                    </a:cubicBezTo>
                    <a:cubicBezTo>
                      <a:pt x="466" y="238"/>
                      <a:pt x="465" y="239"/>
                      <a:pt x="464" y="240"/>
                    </a:cubicBezTo>
                    <a:cubicBezTo>
                      <a:pt x="463" y="240"/>
                      <a:pt x="463" y="241"/>
                      <a:pt x="462" y="241"/>
                    </a:cubicBezTo>
                    <a:cubicBezTo>
                      <a:pt x="462" y="242"/>
                      <a:pt x="462" y="242"/>
                      <a:pt x="462" y="242"/>
                    </a:cubicBezTo>
                    <a:cubicBezTo>
                      <a:pt x="461" y="242"/>
                      <a:pt x="460" y="243"/>
                      <a:pt x="458" y="244"/>
                    </a:cubicBezTo>
                    <a:cubicBezTo>
                      <a:pt x="458" y="245"/>
                      <a:pt x="457" y="245"/>
                      <a:pt x="456" y="246"/>
                    </a:cubicBezTo>
                    <a:cubicBezTo>
                      <a:pt x="455" y="247"/>
                      <a:pt x="454" y="248"/>
                      <a:pt x="453" y="249"/>
                    </a:cubicBezTo>
                    <a:cubicBezTo>
                      <a:pt x="453" y="250"/>
                      <a:pt x="452" y="250"/>
                      <a:pt x="452" y="251"/>
                    </a:cubicBezTo>
                    <a:cubicBezTo>
                      <a:pt x="448" y="255"/>
                      <a:pt x="444" y="260"/>
                      <a:pt x="441" y="265"/>
                    </a:cubicBezTo>
                    <a:cubicBezTo>
                      <a:pt x="441" y="265"/>
                      <a:pt x="441" y="265"/>
                      <a:pt x="441" y="266"/>
                    </a:cubicBezTo>
                    <a:cubicBezTo>
                      <a:pt x="440" y="267"/>
                      <a:pt x="439" y="269"/>
                      <a:pt x="438" y="270"/>
                    </a:cubicBezTo>
                    <a:cubicBezTo>
                      <a:pt x="438" y="271"/>
                      <a:pt x="438" y="271"/>
                      <a:pt x="438" y="272"/>
                    </a:cubicBezTo>
                    <a:cubicBezTo>
                      <a:pt x="438" y="272"/>
                      <a:pt x="437" y="272"/>
                      <a:pt x="437" y="272"/>
                    </a:cubicBezTo>
                    <a:cubicBezTo>
                      <a:pt x="437" y="274"/>
                      <a:pt x="436" y="275"/>
                      <a:pt x="436" y="277"/>
                    </a:cubicBezTo>
                    <a:cubicBezTo>
                      <a:pt x="435" y="277"/>
                      <a:pt x="435" y="278"/>
                      <a:pt x="435" y="278"/>
                    </a:cubicBezTo>
                    <a:cubicBezTo>
                      <a:pt x="434" y="280"/>
                      <a:pt x="434" y="282"/>
                      <a:pt x="433" y="284"/>
                    </a:cubicBezTo>
                    <a:cubicBezTo>
                      <a:pt x="433" y="284"/>
                      <a:pt x="433" y="284"/>
                      <a:pt x="433" y="284"/>
                    </a:cubicBezTo>
                    <a:cubicBezTo>
                      <a:pt x="382" y="320"/>
                      <a:pt x="382" y="320"/>
                      <a:pt x="382" y="320"/>
                    </a:cubicBezTo>
                    <a:cubicBezTo>
                      <a:pt x="332" y="355"/>
                      <a:pt x="332" y="355"/>
                      <a:pt x="332" y="355"/>
                    </a:cubicBezTo>
                    <a:cubicBezTo>
                      <a:pt x="147" y="483"/>
                      <a:pt x="147" y="483"/>
                      <a:pt x="147" y="483"/>
                    </a:cubicBezTo>
                    <a:cubicBezTo>
                      <a:pt x="103" y="514"/>
                      <a:pt x="103" y="514"/>
                      <a:pt x="103" y="514"/>
                    </a:cubicBezTo>
                    <a:cubicBezTo>
                      <a:pt x="81" y="529"/>
                      <a:pt x="81" y="529"/>
                      <a:pt x="81" y="529"/>
                    </a:cubicBezTo>
                    <a:cubicBezTo>
                      <a:pt x="0" y="586"/>
                      <a:pt x="0" y="586"/>
                      <a:pt x="0" y="586"/>
                    </a:cubicBezTo>
                    <a:cubicBezTo>
                      <a:pt x="37" y="640"/>
                      <a:pt x="37" y="640"/>
                      <a:pt x="37" y="640"/>
                    </a:cubicBezTo>
                    <a:cubicBezTo>
                      <a:pt x="81" y="609"/>
                      <a:pt x="81" y="609"/>
                      <a:pt x="81" y="609"/>
                    </a:cubicBezTo>
                    <a:cubicBezTo>
                      <a:pt x="218" y="514"/>
                      <a:pt x="218" y="514"/>
                      <a:pt x="218" y="514"/>
                    </a:cubicBezTo>
                    <a:cubicBezTo>
                      <a:pt x="263" y="483"/>
                      <a:pt x="263" y="483"/>
                      <a:pt x="263" y="483"/>
                    </a:cubicBezTo>
                    <a:cubicBezTo>
                      <a:pt x="332" y="435"/>
                      <a:pt x="332" y="435"/>
                      <a:pt x="332" y="435"/>
                    </a:cubicBezTo>
                    <a:cubicBezTo>
                      <a:pt x="382" y="400"/>
                      <a:pt x="382" y="400"/>
                      <a:pt x="382" y="400"/>
                    </a:cubicBezTo>
                    <a:cubicBezTo>
                      <a:pt x="446" y="355"/>
                      <a:pt x="446" y="355"/>
                      <a:pt x="446" y="355"/>
                    </a:cubicBezTo>
                    <a:cubicBezTo>
                      <a:pt x="448" y="358"/>
                      <a:pt x="450" y="360"/>
                      <a:pt x="452" y="362"/>
                    </a:cubicBezTo>
                    <a:cubicBezTo>
                      <a:pt x="452" y="362"/>
                      <a:pt x="452" y="363"/>
                      <a:pt x="452" y="363"/>
                    </a:cubicBezTo>
                    <a:cubicBezTo>
                      <a:pt x="455" y="366"/>
                      <a:pt x="458" y="369"/>
                      <a:pt x="462" y="372"/>
                    </a:cubicBezTo>
                    <a:cubicBezTo>
                      <a:pt x="463" y="372"/>
                      <a:pt x="463" y="373"/>
                      <a:pt x="464" y="373"/>
                    </a:cubicBezTo>
                    <a:cubicBezTo>
                      <a:pt x="465" y="374"/>
                      <a:pt x="467" y="376"/>
                      <a:pt x="469" y="377"/>
                    </a:cubicBezTo>
                    <a:cubicBezTo>
                      <a:pt x="470" y="377"/>
                      <a:pt x="471" y="378"/>
                      <a:pt x="472" y="378"/>
                    </a:cubicBezTo>
                    <a:cubicBezTo>
                      <a:pt x="472" y="379"/>
                      <a:pt x="473" y="379"/>
                      <a:pt x="474" y="380"/>
                    </a:cubicBezTo>
                    <a:cubicBezTo>
                      <a:pt x="476" y="381"/>
                      <a:pt x="478" y="382"/>
                      <a:pt x="480" y="382"/>
                    </a:cubicBezTo>
                    <a:cubicBezTo>
                      <a:pt x="480" y="383"/>
                      <a:pt x="481" y="383"/>
                      <a:pt x="482" y="383"/>
                    </a:cubicBezTo>
                    <a:cubicBezTo>
                      <a:pt x="484" y="384"/>
                      <a:pt x="486" y="385"/>
                      <a:pt x="487" y="385"/>
                    </a:cubicBezTo>
                    <a:cubicBezTo>
                      <a:pt x="488" y="386"/>
                      <a:pt x="488" y="386"/>
                      <a:pt x="489" y="386"/>
                    </a:cubicBezTo>
                    <a:cubicBezTo>
                      <a:pt x="491" y="386"/>
                      <a:pt x="493" y="387"/>
                      <a:pt x="495" y="387"/>
                    </a:cubicBezTo>
                    <a:cubicBezTo>
                      <a:pt x="496" y="388"/>
                      <a:pt x="496" y="388"/>
                      <a:pt x="497" y="388"/>
                    </a:cubicBezTo>
                    <a:cubicBezTo>
                      <a:pt x="499" y="388"/>
                      <a:pt x="501" y="389"/>
                      <a:pt x="504" y="389"/>
                    </a:cubicBezTo>
                    <a:cubicBezTo>
                      <a:pt x="504" y="389"/>
                      <a:pt x="505" y="389"/>
                      <a:pt x="505" y="389"/>
                    </a:cubicBezTo>
                    <a:cubicBezTo>
                      <a:pt x="508" y="389"/>
                      <a:pt x="510" y="389"/>
                      <a:pt x="513" y="389"/>
                    </a:cubicBezTo>
                    <a:cubicBezTo>
                      <a:pt x="516" y="389"/>
                      <a:pt x="518" y="389"/>
                      <a:pt x="521" y="389"/>
                    </a:cubicBezTo>
                    <a:cubicBezTo>
                      <a:pt x="522" y="389"/>
                      <a:pt x="524" y="389"/>
                      <a:pt x="525" y="388"/>
                    </a:cubicBezTo>
                    <a:cubicBezTo>
                      <a:pt x="526" y="388"/>
                      <a:pt x="528" y="388"/>
                      <a:pt x="529" y="388"/>
                    </a:cubicBezTo>
                    <a:cubicBezTo>
                      <a:pt x="531" y="387"/>
                      <a:pt x="532" y="387"/>
                      <a:pt x="534" y="386"/>
                    </a:cubicBezTo>
                    <a:cubicBezTo>
                      <a:pt x="535" y="386"/>
                      <a:pt x="536" y="386"/>
                      <a:pt x="537" y="386"/>
                    </a:cubicBezTo>
                    <a:cubicBezTo>
                      <a:pt x="539" y="385"/>
                      <a:pt x="541" y="384"/>
                      <a:pt x="543" y="384"/>
                    </a:cubicBezTo>
                    <a:cubicBezTo>
                      <a:pt x="543" y="384"/>
                      <a:pt x="543" y="383"/>
                      <a:pt x="544" y="383"/>
                    </a:cubicBezTo>
                    <a:cubicBezTo>
                      <a:pt x="546" y="382"/>
                      <a:pt x="548" y="381"/>
                      <a:pt x="550" y="380"/>
                    </a:cubicBezTo>
                    <a:cubicBezTo>
                      <a:pt x="550" y="380"/>
                      <a:pt x="551" y="380"/>
                      <a:pt x="551" y="380"/>
                    </a:cubicBezTo>
                    <a:cubicBezTo>
                      <a:pt x="553" y="379"/>
                      <a:pt x="555" y="378"/>
                      <a:pt x="557" y="376"/>
                    </a:cubicBezTo>
                    <a:cubicBezTo>
                      <a:pt x="557" y="376"/>
                      <a:pt x="557" y="376"/>
                      <a:pt x="557" y="376"/>
                    </a:cubicBezTo>
                    <a:cubicBezTo>
                      <a:pt x="562" y="373"/>
                      <a:pt x="566" y="370"/>
                      <a:pt x="569" y="367"/>
                    </a:cubicBezTo>
                    <a:cubicBezTo>
                      <a:pt x="569" y="367"/>
                      <a:pt x="569" y="367"/>
                      <a:pt x="569" y="367"/>
                    </a:cubicBezTo>
                    <a:cubicBezTo>
                      <a:pt x="632" y="416"/>
                      <a:pt x="632" y="416"/>
                      <a:pt x="632" y="416"/>
                    </a:cubicBezTo>
                    <a:cubicBezTo>
                      <a:pt x="661" y="439"/>
                      <a:pt x="661" y="439"/>
                      <a:pt x="661" y="439"/>
                    </a:cubicBezTo>
                    <a:cubicBezTo>
                      <a:pt x="660" y="441"/>
                      <a:pt x="660" y="444"/>
                      <a:pt x="659" y="447"/>
                    </a:cubicBezTo>
                    <a:cubicBezTo>
                      <a:pt x="659" y="448"/>
                      <a:pt x="659" y="449"/>
                      <a:pt x="659" y="450"/>
                    </a:cubicBezTo>
                    <a:cubicBezTo>
                      <a:pt x="659" y="451"/>
                      <a:pt x="659" y="452"/>
                      <a:pt x="659" y="453"/>
                    </a:cubicBezTo>
                    <a:cubicBezTo>
                      <a:pt x="658" y="455"/>
                      <a:pt x="658" y="457"/>
                      <a:pt x="658" y="460"/>
                    </a:cubicBezTo>
                    <a:cubicBezTo>
                      <a:pt x="658" y="483"/>
                      <a:pt x="668" y="503"/>
                      <a:pt x="683" y="518"/>
                    </a:cubicBezTo>
                    <a:cubicBezTo>
                      <a:pt x="698" y="533"/>
                      <a:pt x="718" y="543"/>
                      <a:pt x="741" y="543"/>
                    </a:cubicBezTo>
                    <a:cubicBezTo>
                      <a:pt x="766" y="543"/>
                      <a:pt x="788" y="531"/>
                      <a:pt x="804" y="514"/>
                    </a:cubicBezTo>
                    <a:cubicBezTo>
                      <a:pt x="811" y="505"/>
                      <a:pt x="817" y="494"/>
                      <a:pt x="821" y="483"/>
                    </a:cubicBezTo>
                    <a:cubicBezTo>
                      <a:pt x="823" y="476"/>
                      <a:pt x="824" y="468"/>
                      <a:pt x="824" y="460"/>
                    </a:cubicBezTo>
                    <a:cubicBezTo>
                      <a:pt x="824" y="457"/>
                      <a:pt x="824" y="455"/>
                      <a:pt x="824" y="453"/>
                    </a:cubicBezTo>
                    <a:cubicBezTo>
                      <a:pt x="824" y="452"/>
                      <a:pt x="823" y="451"/>
                      <a:pt x="823" y="450"/>
                    </a:cubicBezTo>
                    <a:cubicBezTo>
                      <a:pt x="823" y="449"/>
                      <a:pt x="823" y="448"/>
                      <a:pt x="823" y="447"/>
                    </a:cubicBezTo>
                    <a:cubicBezTo>
                      <a:pt x="823" y="445"/>
                      <a:pt x="822" y="442"/>
                      <a:pt x="821" y="440"/>
                    </a:cubicBezTo>
                    <a:cubicBezTo>
                      <a:pt x="933" y="354"/>
                      <a:pt x="933" y="354"/>
                      <a:pt x="933" y="354"/>
                    </a:cubicBezTo>
                    <a:cubicBezTo>
                      <a:pt x="983" y="316"/>
                      <a:pt x="983" y="316"/>
                      <a:pt x="983" y="316"/>
                    </a:cubicBezTo>
                    <a:cubicBezTo>
                      <a:pt x="1040" y="272"/>
                      <a:pt x="1040" y="272"/>
                      <a:pt x="1040" y="272"/>
                    </a:cubicBezTo>
                    <a:cubicBezTo>
                      <a:pt x="1080" y="241"/>
                      <a:pt x="1080" y="241"/>
                      <a:pt x="1080" y="241"/>
                    </a:cubicBezTo>
                    <a:cubicBezTo>
                      <a:pt x="1208" y="143"/>
                      <a:pt x="1208" y="143"/>
                      <a:pt x="1208" y="143"/>
                    </a:cubicBezTo>
                    <a:cubicBezTo>
                      <a:pt x="1234" y="177"/>
                      <a:pt x="1234" y="177"/>
                      <a:pt x="1234" y="177"/>
                    </a:cubicBezTo>
                    <a:cubicBezTo>
                      <a:pt x="1256" y="206"/>
                      <a:pt x="1256" y="206"/>
                      <a:pt x="1256" y="206"/>
                    </a:cubicBezTo>
                    <a:cubicBezTo>
                      <a:pt x="1342" y="0"/>
                      <a:pt x="1342" y="0"/>
                      <a:pt x="1342" y="0"/>
                    </a:cubicBezTo>
                    <a:cubicBezTo>
                      <a:pt x="1121" y="29"/>
                      <a:pt x="1121" y="29"/>
                      <a:pt x="1121" y="29"/>
                    </a:cubicBezTo>
                    <a:lnTo>
                      <a:pt x="1122" y="31"/>
                    </a:lnTo>
                    <a:close/>
                    <a:moveTo>
                      <a:pt x="513" y="348"/>
                    </a:moveTo>
                    <a:cubicBezTo>
                      <a:pt x="499" y="348"/>
                      <a:pt x="487" y="341"/>
                      <a:pt x="480" y="331"/>
                    </a:cubicBezTo>
                    <a:cubicBezTo>
                      <a:pt x="475" y="325"/>
                      <a:pt x="471" y="316"/>
                      <a:pt x="471" y="307"/>
                    </a:cubicBezTo>
                    <a:cubicBezTo>
                      <a:pt x="471" y="292"/>
                      <a:pt x="479" y="280"/>
                      <a:pt x="490" y="272"/>
                    </a:cubicBezTo>
                    <a:cubicBezTo>
                      <a:pt x="496" y="268"/>
                      <a:pt x="504" y="265"/>
                      <a:pt x="513" y="265"/>
                    </a:cubicBezTo>
                    <a:cubicBezTo>
                      <a:pt x="521" y="265"/>
                      <a:pt x="529" y="268"/>
                      <a:pt x="536" y="272"/>
                    </a:cubicBezTo>
                    <a:cubicBezTo>
                      <a:pt x="547" y="280"/>
                      <a:pt x="554" y="292"/>
                      <a:pt x="554" y="307"/>
                    </a:cubicBezTo>
                    <a:cubicBezTo>
                      <a:pt x="554" y="321"/>
                      <a:pt x="547" y="333"/>
                      <a:pt x="536" y="340"/>
                    </a:cubicBezTo>
                    <a:cubicBezTo>
                      <a:pt x="529" y="345"/>
                      <a:pt x="521" y="348"/>
                      <a:pt x="513" y="348"/>
                    </a:cubicBezTo>
                    <a:close/>
                    <a:moveTo>
                      <a:pt x="741" y="501"/>
                    </a:moveTo>
                    <a:cubicBezTo>
                      <a:pt x="741" y="501"/>
                      <a:pt x="741" y="501"/>
                      <a:pt x="741" y="501"/>
                    </a:cubicBezTo>
                    <a:cubicBezTo>
                      <a:pt x="741" y="501"/>
                      <a:pt x="741" y="501"/>
                      <a:pt x="740" y="501"/>
                    </a:cubicBezTo>
                    <a:cubicBezTo>
                      <a:pt x="726" y="501"/>
                      <a:pt x="714" y="494"/>
                      <a:pt x="707" y="483"/>
                    </a:cubicBezTo>
                    <a:cubicBezTo>
                      <a:pt x="704" y="479"/>
                      <a:pt x="702" y="475"/>
                      <a:pt x="701" y="470"/>
                    </a:cubicBezTo>
                    <a:cubicBezTo>
                      <a:pt x="700" y="467"/>
                      <a:pt x="700" y="463"/>
                      <a:pt x="700" y="460"/>
                    </a:cubicBezTo>
                    <a:cubicBezTo>
                      <a:pt x="700" y="437"/>
                      <a:pt x="718" y="419"/>
                      <a:pt x="741" y="419"/>
                    </a:cubicBezTo>
                    <a:cubicBezTo>
                      <a:pt x="764" y="419"/>
                      <a:pt x="782" y="437"/>
                      <a:pt x="782" y="460"/>
                    </a:cubicBezTo>
                    <a:cubicBezTo>
                      <a:pt x="782" y="464"/>
                      <a:pt x="782" y="467"/>
                      <a:pt x="781" y="471"/>
                    </a:cubicBezTo>
                    <a:cubicBezTo>
                      <a:pt x="779" y="475"/>
                      <a:pt x="778" y="479"/>
                      <a:pt x="775" y="483"/>
                    </a:cubicBezTo>
                    <a:cubicBezTo>
                      <a:pt x="768" y="494"/>
                      <a:pt x="755" y="501"/>
                      <a:pt x="741" y="5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3072D60D-BF15-4FBD-BA65-FF1E3FF30147}"/>
              </a:ext>
            </a:extLst>
          </p:cNvPr>
          <p:cNvSpPr/>
          <p:nvPr/>
        </p:nvSpPr>
        <p:spPr>
          <a:xfrm>
            <a:off x="6484680" y="363828"/>
            <a:ext cx="5132928" cy="6130344"/>
          </a:xfrm>
          <a:prstGeom prst="rect">
            <a:avLst/>
          </a:prstGeom>
        </p:spPr>
        <p:txBody>
          <a:bodyPr wrap="square" lIns="179285" tIns="143428" rIns="179285" bIns="143428">
            <a:noAutofit/>
          </a:bodyPr>
          <a:lstStyle/>
          <a:p>
            <a:pPr lvl="0">
              <a:lnSpc>
                <a:spcPct val="300000"/>
              </a:lnSpc>
            </a:pPr>
            <a:r>
              <a:rPr lang="en-US" sz="20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Which ones</a:t>
            </a:r>
          </a:p>
          <a:p>
            <a:pPr lvl="0">
              <a:lnSpc>
                <a:spcPct val="300000"/>
              </a:lnSpc>
            </a:pPr>
            <a:r>
              <a:rPr lang="en-GB" sz="20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How</a:t>
            </a:r>
          </a:p>
          <a:p>
            <a:pPr lvl="0">
              <a:lnSpc>
                <a:spcPct val="300000"/>
              </a:lnSpc>
            </a:pPr>
            <a:r>
              <a:rPr lang="en-GB" sz="20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Catalog</a:t>
            </a:r>
          </a:p>
          <a:p>
            <a:pPr lvl="0">
              <a:lnSpc>
                <a:spcPct val="300000"/>
              </a:lnSpc>
            </a:pPr>
            <a:r>
              <a:rPr lang="en-GB" sz="20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Define</a:t>
            </a:r>
          </a:p>
          <a:p>
            <a:pPr lvl="0">
              <a:lnSpc>
                <a:spcPct val="300000"/>
              </a:lnSpc>
            </a:pPr>
            <a:r>
              <a:rPr lang="en-GB" sz="20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Quality</a:t>
            </a:r>
          </a:p>
          <a:p>
            <a:pPr lvl="0">
              <a:lnSpc>
                <a:spcPct val="300000"/>
              </a:lnSpc>
            </a:pPr>
            <a:r>
              <a:rPr lang="en-GB" sz="20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ecurity</a:t>
            </a:r>
            <a:endParaRPr kumimoji="0" lang="en-GB" sz="2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0F1BD065-0BE9-4399-A874-2B756AD2AD58}"/>
              </a:ext>
            </a:extLst>
          </p:cNvPr>
          <p:cNvGrpSpPr/>
          <p:nvPr/>
        </p:nvGrpSpPr>
        <p:grpSpPr>
          <a:xfrm>
            <a:off x="5712571" y="884154"/>
            <a:ext cx="409870" cy="412073"/>
            <a:chOff x="6107113" y="809625"/>
            <a:chExt cx="295275" cy="296862"/>
          </a:xfrm>
        </p:grpSpPr>
        <p:sp>
          <p:nvSpPr>
            <p:cNvPr id="42" name="Oval 5">
              <a:extLst>
                <a:ext uri="{FF2B5EF4-FFF2-40B4-BE49-F238E27FC236}">
                  <a16:creationId xmlns:a16="http://schemas.microsoft.com/office/drawing/2014/main" id="{73899817-FDE7-47EA-8DF6-E8669537DE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4588" y="809625"/>
              <a:ext cx="177800" cy="179387"/>
            </a:xfrm>
            <a:prstGeom prst="ellipse">
              <a:avLst/>
            </a:prstGeom>
            <a:noFill/>
            <a:ln w="1905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" name="Line 6">
              <a:extLst>
                <a:ext uri="{FF2B5EF4-FFF2-40B4-BE49-F238E27FC236}">
                  <a16:creationId xmlns:a16="http://schemas.microsoft.com/office/drawing/2014/main" id="{FAAC99A8-914E-4D4C-8DA3-5D96DF83FE5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107113" y="962025"/>
              <a:ext cx="144463" cy="144462"/>
            </a:xfrm>
            <a:prstGeom prst="line">
              <a:avLst/>
            </a:prstGeom>
            <a:noFill/>
            <a:ln w="1905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44" name="Freeform 10">
            <a:extLst>
              <a:ext uri="{FF2B5EF4-FFF2-40B4-BE49-F238E27FC236}">
                <a16:creationId xmlns:a16="http://schemas.microsoft.com/office/drawing/2014/main" id="{B50C074E-D0D7-4A47-AD8C-534259351C3E}"/>
              </a:ext>
            </a:extLst>
          </p:cNvPr>
          <p:cNvSpPr>
            <a:spLocks/>
          </p:cNvSpPr>
          <p:nvPr/>
        </p:nvSpPr>
        <p:spPr bwMode="auto">
          <a:xfrm>
            <a:off x="5677924" y="4597405"/>
            <a:ext cx="409870" cy="289875"/>
          </a:xfrm>
          <a:custGeom>
            <a:avLst/>
            <a:gdLst>
              <a:gd name="T0" fmla="*/ 104 w 304"/>
              <a:gd name="T1" fmla="*/ 215 h 215"/>
              <a:gd name="T2" fmla="*/ 0 w 304"/>
              <a:gd name="T3" fmla="*/ 112 h 215"/>
              <a:gd name="T4" fmla="*/ 13 w 304"/>
              <a:gd name="T5" fmla="*/ 101 h 215"/>
              <a:gd name="T6" fmla="*/ 104 w 304"/>
              <a:gd name="T7" fmla="*/ 191 h 215"/>
              <a:gd name="T8" fmla="*/ 291 w 304"/>
              <a:gd name="T9" fmla="*/ 0 h 215"/>
              <a:gd name="T10" fmla="*/ 304 w 304"/>
              <a:gd name="T11" fmla="*/ 13 h 215"/>
              <a:gd name="T12" fmla="*/ 104 w 304"/>
              <a:gd name="T13" fmla="*/ 215 h 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04" h="215">
                <a:moveTo>
                  <a:pt x="104" y="215"/>
                </a:moveTo>
                <a:lnTo>
                  <a:pt x="0" y="112"/>
                </a:lnTo>
                <a:lnTo>
                  <a:pt x="13" y="101"/>
                </a:lnTo>
                <a:lnTo>
                  <a:pt x="104" y="191"/>
                </a:lnTo>
                <a:lnTo>
                  <a:pt x="291" y="0"/>
                </a:lnTo>
                <a:lnTo>
                  <a:pt x="304" y="13"/>
                </a:lnTo>
                <a:lnTo>
                  <a:pt x="104" y="215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57AC9798-1EE1-4A42-850B-F5C35F9B2416}"/>
              </a:ext>
            </a:extLst>
          </p:cNvPr>
          <p:cNvGrpSpPr/>
          <p:nvPr/>
        </p:nvGrpSpPr>
        <p:grpSpPr>
          <a:xfrm>
            <a:off x="5593406" y="2642961"/>
            <a:ext cx="567174" cy="533489"/>
            <a:chOff x="5770563" y="2393536"/>
            <a:chExt cx="388937" cy="334963"/>
          </a:xfrm>
          <a:solidFill>
            <a:schemeClr val="tx2"/>
          </a:solidFill>
        </p:grpSpPr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DB6D6072-869E-44CA-B15F-1F4A27D79B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70563" y="2393536"/>
              <a:ext cx="388937" cy="334963"/>
            </a:xfrm>
            <a:custGeom>
              <a:avLst/>
              <a:gdLst>
                <a:gd name="T0" fmla="*/ 245 w 245"/>
                <a:gd name="T1" fmla="*/ 18 h 211"/>
                <a:gd name="T2" fmla="*/ 245 w 245"/>
                <a:gd name="T3" fmla="*/ 9 h 211"/>
                <a:gd name="T4" fmla="*/ 245 w 245"/>
                <a:gd name="T5" fmla="*/ 0 h 211"/>
                <a:gd name="T6" fmla="*/ 0 w 245"/>
                <a:gd name="T7" fmla="*/ 0 h 211"/>
                <a:gd name="T8" fmla="*/ 0 w 245"/>
                <a:gd name="T9" fmla="*/ 9 h 211"/>
                <a:gd name="T10" fmla="*/ 0 w 245"/>
                <a:gd name="T11" fmla="*/ 18 h 211"/>
                <a:gd name="T12" fmla="*/ 0 w 245"/>
                <a:gd name="T13" fmla="*/ 193 h 211"/>
                <a:gd name="T14" fmla="*/ 0 w 245"/>
                <a:gd name="T15" fmla="*/ 202 h 211"/>
                <a:gd name="T16" fmla="*/ 0 w 245"/>
                <a:gd name="T17" fmla="*/ 211 h 211"/>
                <a:gd name="T18" fmla="*/ 227 w 245"/>
                <a:gd name="T19" fmla="*/ 211 h 211"/>
                <a:gd name="T20" fmla="*/ 236 w 245"/>
                <a:gd name="T21" fmla="*/ 211 h 211"/>
                <a:gd name="T22" fmla="*/ 245 w 245"/>
                <a:gd name="T23" fmla="*/ 211 h 211"/>
                <a:gd name="T24" fmla="*/ 245 w 245"/>
                <a:gd name="T25" fmla="*/ 18 h 211"/>
                <a:gd name="T26" fmla="*/ 227 w 245"/>
                <a:gd name="T27" fmla="*/ 18 h 211"/>
                <a:gd name="T28" fmla="*/ 227 w 245"/>
                <a:gd name="T29" fmla="*/ 53 h 211"/>
                <a:gd name="T30" fmla="*/ 18 w 245"/>
                <a:gd name="T31" fmla="*/ 53 h 211"/>
                <a:gd name="T32" fmla="*/ 18 w 245"/>
                <a:gd name="T33" fmla="*/ 18 h 211"/>
                <a:gd name="T34" fmla="*/ 227 w 245"/>
                <a:gd name="T35" fmla="*/ 18 h 211"/>
                <a:gd name="T36" fmla="*/ 18 w 245"/>
                <a:gd name="T37" fmla="*/ 193 h 211"/>
                <a:gd name="T38" fmla="*/ 18 w 245"/>
                <a:gd name="T39" fmla="*/ 70 h 211"/>
                <a:gd name="T40" fmla="*/ 227 w 245"/>
                <a:gd name="T41" fmla="*/ 70 h 211"/>
                <a:gd name="T42" fmla="*/ 227 w 245"/>
                <a:gd name="T43" fmla="*/ 193 h 211"/>
                <a:gd name="T44" fmla="*/ 18 w 245"/>
                <a:gd name="T45" fmla="*/ 193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5" h="211">
                  <a:moveTo>
                    <a:pt x="245" y="18"/>
                  </a:moveTo>
                  <a:lnTo>
                    <a:pt x="245" y="9"/>
                  </a:lnTo>
                  <a:lnTo>
                    <a:pt x="245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8"/>
                  </a:lnTo>
                  <a:lnTo>
                    <a:pt x="0" y="193"/>
                  </a:lnTo>
                  <a:lnTo>
                    <a:pt x="0" y="202"/>
                  </a:lnTo>
                  <a:lnTo>
                    <a:pt x="0" y="211"/>
                  </a:lnTo>
                  <a:lnTo>
                    <a:pt x="227" y="211"/>
                  </a:lnTo>
                  <a:lnTo>
                    <a:pt x="236" y="211"/>
                  </a:lnTo>
                  <a:lnTo>
                    <a:pt x="245" y="211"/>
                  </a:lnTo>
                  <a:lnTo>
                    <a:pt x="245" y="18"/>
                  </a:lnTo>
                  <a:close/>
                  <a:moveTo>
                    <a:pt x="227" y="18"/>
                  </a:moveTo>
                  <a:lnTo>
                    <a:pt x="227" y="53"/>
                  </a:lnTo>
                  <a:lnTo>
                    <a:pt x="18" y="53"/>
                  </a:lnTo>
                  <a:lnTo>
                    <a:pt x="18" y="18"/>
                  </a:lnTo>
                  <a:lnTo>
                    <a:pt x="227" y="18"/>
                  </a:lnTo>
                  <a:close/>
                  <a:moveTo>
                    <a:pt x="18" y="193"/>
                  </a:moveTo>
                  <a:lnTo>
                    <a:pt x="18" y="70"/>
                  </a:lnTo>
                  <a:lnTo>
                    <a:pt x="227" y="70"/>
                  </a:lnTo>
                  <a:lnTo>
                    <a:pt x="227" y="193"/>
                  </a:lnTo>
                  <a:lnTo>
                    <a:pt x="18" y="193"/>
                  </a:lnTo>
                  <a:close/>
                </a:path>
              </a:pathLst>
            </a:custGeom>
            <a:grpFill/>
            <a:ln w="9525">
              <a:solidFill>
                <a:srgbClr val="F8F8F8"/>
              </a:solidFill>
              <a:miter lim="800000"/>
              <a:headEnd/>
              <a:tailEnd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" name="Oval 15">
              <a:extLst>
                <a:ext uri="{FF2B5EF4-FFF2-40B4-BE49-F238E27FC236}">
                  <a16:creationId xmlns:a16="http://schemas.microsoft.com/office/drawing/2014/main" id="{CC92388F-4BFB-439F-B9D9-1D6F2C77F1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75363" y="2434811"/>
              <a:ext cx="28575" cy="28575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" name="Oval 16">
              <a:extLst>
                <a:ext uri="{FF2B5EF4-FFF2-40B4-BE49-F238E27FC236}">
                  <a16:creationId xmlns:a16="http://schemas.microsoft.com/office/drawing/2014/main" id="{DB3AFBA9-AB8E-40E7-9A75-F715B001FF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4088" y="2434811"/>
              <a:ext cx="28575" cy="28575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" name="Oval 17">
              <a:extLst>
                <a:ext uri="{FF2B5EF4-FFF2-40B4-BE49-F238E27FC236}">
                  <a16:creationId xmlns:a16="http://schemas.microsoft.com/office/drawing/2014/main" id="{98B41D4D-3721-48FF-9EA8-BA7759DAE9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92813" y="2434811"/>
              <a:ext cx="26987" cy="28575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pic>
        <p:nvPicPr>
          <p:cNvPr id="3" name="Graphic 2" descr="Pencil">
            <a:extLst>
              <a:ext uri="{FF2B5EF4-FFF2-40B4-BE49-F238E27FC236}">
                <a16:creationId xmlns:a16="http://schemas.microsoft.com/office/drawing/2014/main" id="{4B9CA2C9-EEAC-4317-83AF-DE830A8817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57930" y="3510787"/>
            <a:ext cx="690076" cy="690076"/>
          </a:xfrm>
          <a:prstGeom prst="rect">
            <a:avLst/>
          </a:prstGeom>
        </p:spPr>
      </p:pic>
      <p:sp>
        <p:nvSpPr>
          <p:cNvPr id="28" name="Thought Bubble: Cloud 27">
            <a:extLst>
              <a:ext uri="{FF2B5EF4-FFF2-40B4-BE49-F238E27FC236}">
                <a16:creationId xmlns:a16="http://schemas.microsoft.com/office/drawing/2014/main" id="{D204A2DE-A90E-42BB-AF08-278F23AA2698}"/>
              </a:ext>
            </a:extLst>
          </p:cNvPr>
          <p:cNvSpPr/>
          <p:nvPr/>
        </p:nvSpPr>
        <p:spPr bwMode="auto">
          <a:xfrm>
            <a:off x="5522869" y="1692769"/>
            <a:ext cx="760198" cy="462560"/>
          </a:xfrm>
          <a:prstGeom prst="cloudCallout">
            <a:avLst/>
          </a:prstGeom>
          <a:solidFill>
            <a:schemeClr val="bg1"/>
          </a:solidFill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31" name="Graphic 30" descr="Lock">
            <a:extLst>
              <a:ext uri="{FF2B5EF4-FFF2-40B4-BE49-F238E27FC236}">
                <a16:creationId xmlns:a16="http://schemas.microsoft.com/office/drawing/2014/main" id="{095B2842-AFB8-49BF-B6CD-C266E6EE5F8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453816" y="5215622"/>
            <a:ext cx="829153" cy="829153"/>
          </a:xfrm>
          <a:prstGeom prst="rect">
            <a:avLst/>
          </a:prstGeom>
        </p:spPr>
      </p:pic>
      <p:sp>
        <p:nvSpPr>
          <p:cNvPr id="50" name="Title 2">
            <a:extLst>
              <a:ext uri="{FF2B5EF4-FFF2-40B4-BE49-F238E27FC236}">
                <a16:creationId xmlns:a16="http://schemas.microsoft.com/office/drawing/2014/main" id="{7D1D0E29-4BD2-4B9D-BB8B-0C6E1F9CB71E}"/>
              </a:ext>
            </a:extLst>
          </p:cNvPr>
          <p:cNvSpPr txBox="1">
            <a:spLocks/>
          </p:cNvSpPr>
          <p:nvPr/>
        </p:nvSpPr>
        <p:spPr>
          <a:xfrm>
            <a:off x="185007" y="2093811"/>
            <a:ext cx="5047057" cy="249126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defTabSz="914367">
              <a:lnSpc>
                <a:spcPct val="90000"/>
              </a:lnSpc>
              <a:spcBef>
                <a:spcPct val="0"/>
              </a:spcBef>
              <a:buNone/>
              <a:defRPr lang="en-US" sz="5500" b="0" cap="none" spc="-100" baseline="0" dirty="0">
                <a:ln w="3175">
                  <a:noFill/>
                </a:ln>
                <a:solidFill>
                  <a:srgbClr val="EDC30D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Data Asset</a:t>
            </a:r>
          </a:p>
          <a:p>
            <a:r>
              <a:rPr lang="en-US" dirty="0"/>
              <a:t>Governan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4753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5954">
        <p:fade/>
      </p:transition>
    </mc:Choice>
    <mc:Fallback xmlns="">
      <p:transition spd="med" advTm="65954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2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What data sources are accessible for analysis</a:t>
            </a:r>
            <a:r>
              <a:rPr lang="en-US" dirty="0"/>
              <a:t>?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1A22681E-168C-4450-A572-DA7C706E81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482" y="3178513"/>
            <a:ext cx="11587037" cy="3480144"/>
          </a:xfrm>
        </p:spPr>
        <p:txBody>
          <a:bodyPr>
            <a:normAutofit/>
          </a:bodyPr>
          <a:lstStyle/>
          <a:p>
            <a:r>
              <a:rPr lang="en-GB" dirty="0"/>
              <a:t>Key Areas to Discuss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Location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Data Source type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Size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Refresh frequency</a:t>
            </a:r>
          </a:p>
          <a:p>
            <a:pPr lvl="2"/>
            <a:r>
              <a:rPr lang="en-GB" dirty="0">
                <a:solidFill>
                  <a:srgbClr val="EDC30D"/>
                </a:solidFill>
              </a:rPr>
              <a:t>W</a:t>
            </a:r>
            <a:r>
              <a:rPr lang="en-US" dirty="0">
                <a:solidFill>
                  <a:srgbClr val="EDC30D"/>
                </a:solidFill>
              </a:rPr>
              <a:t>ho can access</a:t>
            </a:r>
          </a:p>
          <a:p>
            <a:pPr lvl="2"/>
            <a:r>
              <a:rPr lang="en-GB" dirty="0">
                <a:solidFill>
                  <a:srgbClr val="EDC30D"/>
                </a:solidFill>
              </a:rPr>
              <a:t>H</a:t>
            </a:r>
            <a:r>
              <a:rPr lang="en-US" dirty="0">
                <a:solidFill>
                  <a:srgbClr val="EDC30D"/>
                </a:solidFill>
              </a:rPr>
              <a:t>ow can someone request access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Monitoring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Performance implicat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21098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2367">
        <p:fade/>
      </p:transition>
    </mc:Choice>
    <mc:Fallback xmlns="">
      <p:transition spd="med" advTm="102367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732269-2646-4E69-B292-44CEB2100E8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54363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3.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bd27f58f-8c31-4e7f-8019-4e9ea7440194&quot;,&quot;TimeStamp&quot;:&quot;2019-04-15T09:10:03.5177621-07:00&quot;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1.9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36767db7-869c-462e-88cf-542e5581b00c&quot;,&quot;TimeStamp&quot;:&quot;2019-04-15T09:10:03.6136014-07:00&quot;}"/>
  <p:tag name="TIMING" val="|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1.6|22.2|40.2|11.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0.8|3.9|3.4|20.5|5.6"/>
</p:tagLst>
</file>

<file path=ppt/theme/theme1.xml><?xml version="1.0" encoding="utf-8"?>
<a:theme xmlns:a="http://schemas.openxmlformats.org/drawingml/2006/main" name="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4E9C57C-7738-40E5-9DA5-A2AFCC4D2718}" vid="{7E277684-3874-467C-95CC-44A3A115C106}"/>
    </a:ext>
  </a:extLst>
</a:theme>
</file>

<file path=ppt/theme/theme2.xml><?xml version="1.0" encoding="utf-8"?>
<a:theme xmlns:a="http://schemas.openxmlformats.org/drawingml/2006/main" name="2_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EFB2B92-6146-4D35-B115-93F8C1A1610B}" vid="{59FFE97B-E829-4402-9AE9-5B72E31092E7}"/>
    </a:ext>
  </a:extLst>
</a:theme>
</file>

<file path=ppt/theme/theme3.xml><?xml version="1.0" encoding="utf-8"?>
<a:theme xmlns:a="http://schemas.openxmlformats.org/drawingml/2006/main" name="1_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EFB2B92-6146-4D35-B115-93F8C1A1610B}" vid="{59FFE97B-E829-4402-9AE9-5B72E31092E7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Grayscale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DDDDDD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D4D4D"/>
    </a:accent6>
    <a:hlink>
      <a:srgbClr val="5F5F5F"/>
    </a:hlink>
    <a:folHlink>
      <a:srgbClr val="919191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37B333D9039F42B4A841E7D21AD3E7" ma:contentTypeVersion="7" ma:contentTypeDescription="Create a new document." ma:contentTypeScope="" ma:versionID="385892ca22301f732aa61e9e24b0427a">
  <xsd:schema xmlns:xsd="http://www.w3.org/2001/XMLSchema" xmlns:xs="http://www.w3.org/2001/XMLSchema" xmlns:p="http://schemas.microsoft.com/office/2006/metadata/properties" xmlns:ns2="3520180a-3b72-4868-9ddb-261d82f11a91" targetNamespace="http://schemas.microsoft.com/office/2006/metadata/properties" ma:root="true" ma:fieldsID="524886d73bd9f25fcf95cbf5af8c08e0" ns2:_="">
    <xsd:import namespace="3520180a-3b72-4868-9ddb-261d82f11a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20180a-3b72-4868-9ddb-261d82f11a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148A5D7-FD0D-4497-ADB2-773C6533B2F9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33BA0E6-D7D9-4B09-BD1D-370DDC52D1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520180a-3b72-4868-9ddb-261d82f11a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E526520-222D-4E7B-A419-9D8181B2C45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9</Words>
  <Application>Microsoft Office PowerPoint</Application>
  <PresentationFormat>Widescreen</PresentationFormat>
  <Paragraphs>55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8" baseType="lpstr">
      <vt:lpstr>Arial</vt:lpstr>
      <vt:lpstr>Calibri</vt:lpstr>
      <vt:lpstr>Segoe UI</vt:lpstr>
      <vt:lpstr>Segoe UI Black</vt:lpstr>
      <vt:lpstr>Segoe UI Light</vt:lpstr>
      <vt:lpstr>Segoe UI Semibold</vt:lpstr>
      <vt:lpstr>Wingdings</vt:lpstr>
      <vt:lpstr>STB Product Families 2015</vt:lpstr>
      <vt:lpstr>2_STB Product Families 2015</vt:lpstr>
      <vt:lpstr>1_STB Product Families 2015</vt:lpstr>
      <vt:lpstr>think-cell Slide</vt:lpstr>
      <vt:lpstr>Power BI Adoption Framework</vt:lpstr>
      <vt:lpstr>What is your organisation’s current state of BI?</vt:lpstr>
      <vt:lpstr>What organizational goals do you want to achieve with the roll out of Power BI?</vt:lpstr>
      <vt:lpstr>PowerPoint Presentation</vt:lpstr>
      <vt:lpstr>PowerPoint Presentation</vt:lpstr>
      <vt:lpstr>What data sources are accessible for analysis?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Power BI  Self-Service BI Governance</dc:title>
  <dc:creator/>
  <cp:lastModifiedBy/>
  <cp:revision>1</cp:revision>
  <dcterms:modified xsi:type="dcterms:W3CDTF">2019-11-08T18:07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1cd454bacc149bfbcfd764edd279de7">
    <vt:lpwstr/>
  </property>
  <property fmtid="{D5CDD505-2E9C-101B-9397-08002B2CF9AE}" pid="3" name="of67e5d4b76f4a9db8769983fda9cec0">
    <vt:lpwstr/>
  </property>
  <property fmtid="{D5CDD505-2E9C-101B-9397-08002B2CF9AE}" pid="4" name="TaxKeyword">
    <vt:lpwstr/>
  </property>
  <property fmtid="{D5CDD505-2E9C-101B-9397-08002B2CF9AE}" pid="5" name="NewsType">
    <vt:lpwstr/>
  </property>
  <property fmtid="{D5CDD505-2E9C-101B-9397-08002B2CF9AE}" pid="6" name="_dlc_policyId">
    <vt:lpwstr/>
  </property>
  <property fmtid="{D5CDD505-2E9C-101B-9397-08002B2CF9AE}" pid="7" name="Region">
    <vt:lpwstr/>
  </property>
  <property fmtid="{D5CDD505-2E9C-101B-9397-08002B2CF9AE}" pid="8" name="Confidentiality">
    <vt:lpwstr>14;#customer ready|8986c41d-21c5-4f8f-8a12-ea4625b46858</vt:lpwstr>
  </property>
  <property fmtid="{D5CDD505-2E9C-101B-9397-08002B2CF9AE}" pid="9" name="ItemType">
    <vt:lpwstr>435;#technical presentations|83a894cf-702b-47fc-aba5-41bd10dc1e75;#351;#feedback requests|00ce1828-98a3-430e-af54-eda270e1be04</vt:lpwstr>
  </property>
  <property fmtid="{D5CDD505-2E9C-101B-9397-08002B2CF9AE}" pid="10" name="bc28b5f076654a3b96073bbbebfeb8c9">
    <vt:lpwstr/>
  </property>
  <property fmtid="{D5CDD505-2E9C-101B-9397-08002B2CF9AE}" pid="11" name="ga0c0bf70a6644469c61b3efa7025301">
    <vt:lpwstr/>
  </property>
  <property fmtid="{D5CDD505-2E9C-101B-9397-08002B2CF9AE}" pid="12" name="Industries">
    <vt:lpwstr/>
  </property>
  <property fmtid="{D5CDD505-2E9C-101B-9397-08002B2CF9AE}" pid="13" name="MSProducts">
    <vt:lpwstr/>
  </property>
  <property fmtid="{D5CDD505-2E9C-101B-9397-08002B2CF9AE}" pid="14" name="j4d667fb28274e85b2214f6e751c8d1f">
    <vt:lpwstr/>
  </property>
  <property fmtid="{D5CDD505-2E9C-101B-9397-08002B2CF9AE}" pid="15" name="Competitors">
    <vt:lpwstr/>
  </property>
  <property fmtid="{D5CDD505-2E9C-101B-9397-08002B2CF9AE}" pid="16" name="SMSGDomain">
    <vt:lpwstr>82;#SQL Server Domain|0c0f1824-39dc-4b26-8c74-eff4364b812b;#22;#Server and Tools Business|6783548d-8609-4f97-be4a-4ca2616905a6</vt:lpwstr>
  </property>
  <property fmtid="{D5CDD505-2E9C-101B-9397-08002B2CF9AE}" pid="17" name="ExperienceContentType">
    <vt:lpwstr/>
  </property>
  <property fmtid="{D5CDD505-2E9C-101B-9397-08002B2CF9AE}" pid="18" name="BusinessArchitecture">
    <vt:lpwstr>231;#business intelligence|e1f9659f-bde9-4479-81f9-2bc6e8ec0057;#166;#Power BI solution|a774047b-2f39-4ee6-a302-4d53f94b9400</vt:lpwstr>
  </property>
  <property fmtid="{D5CDD505-2E9C-101B-9397-08002B2CF9AE}" pid="19" name="j031aa32f4154c8c9a646efae715ebde">
    <vt:lpwstr/>
  </property>
  <property fmtid="{D5CDD505-2E9C-101B-9397-08002B2CF9AE}" pid="20" name="Products">
    <vt:lpwstr>73;#Microsoft SQL Server|261ba873-f3ab-420e-96d6-e3004596a551;#598;#Microsoft SQL Server Business Intelligence|9ffb7045-1f1b-41c0-987f-ffdc7c6f53c0</vt:lpwstr>
  </property>
  <property fmtid="{D5CDD505-2E9C-101B-9397-08002B2CF9AE}" pid="21" name="ContentExtensions">
    <vt:lpwstr/>
  </property>
  <property fmtid="{D5CDD505-2E9C-101B-9397-08002B2CF9AE}" pid="22" name="WorkflowChangePath">
    <vt:lpwstr>4c942473-d120-4286-a51a-b65ad3d92ffb,2;4c942473-d120-4286-a51a-b65ad3d92ffb,2;4c942473-d120-4286-a51a-b65ad3d92ffb,2;4c942473-d120-4286-a51a-b65ad3d92ffb,2;4c942473-d120-4286-a51a-b65ad3d92ffb,16;4c942473-d120-4286-a51a-b65ad3d92ffb,20;4c942473-d120-4286-</vt:lpwstr>
  </property>
  <property fmtid="{D5CDD505-2E9C-101B-9397-08002B2CF9AE}" pid="23" name="l6f004f21209409da86a713c0f24627d">
    <vt:lpwstr/>
  </property>
  <property fmtid="{D5CDD505-2E9C-101B-9397-08002B2CF9AE}" pid="24" name="MSProductsTaxHTField0">
    <vt:lpwstr/>
  </property>
  <property fmtid="{D5CDD505-2E9C-101B-9397-08002B2CF9AE}" pid="25" name="Topics">
    <vt:lpwstr/>
  </property>
  <property fmtid="{D5CDD505-2E9C-101B-9397-08002B2CF9AE}" pid="26" name="Groups">
    <vt:lpwstr>399;#SQL Server Marketing|bb7921b3-c1d8-4da4-b894-8b6075d9546d;#42;#Cloud and Enterprise Marketing Group|4f75e184-e5aa-4234-a07f-b032d60df254</vt:lpwstr>
  </property>
  <property fmtid="{D5CDD505-2E9C-101B-9397-08002B2CF9AE}" pid="27" name="_docset_NoMedatataSyncRequired">
    <vt:lpwstr>False</vt:lpwstr>
  </property>
  <property fmtid="{D5CDD505-2E9C-101B-9397-08002B2CF9AE}" pid="28" name="MSLanguage">
    <vt:lpwstr/>
  </property>
  <property fmtid="{D5CDD505-2E9C-101B-9397-08002B2CF9AE}" pid="29" name="e8080b0481964c759b2c36ae49591b31">
    <vt:lpwstr/>
  </property>
  <property fmtid="{D5CDD505-2E9C-101B-9397-08002B2CF9AE}" pid="30" name="Languages">
    <vt:lpwstr/>
  </property>
  <property fmtid="{D5CDD505-2E9C-101B-9397-08002B2CF9AE}" pid="31" name="messageframeworktype">
    <vt:lpwstr/>
  </property>
  <property fmtid="{D5CDD505-2E9C-101B-9397-08002B2CF9AE}" pid="32" name="cb7870d3641f4a52807a63577a9c1b08">
    <vt:lpwstr/>
  </property>
  <property fmtid="{D5CDD505-2E9C-101B-9397-08002B2CF9AE}" pid="33" name="TechnicalLevel">
    <vt:lpwstr/>
  </property>
  <property fmtid="{D5CDD505-2E9C-101B-9397-08002B2CF9AE}" pid="34" name="Audiences">
    <vt:lpwstr/>
  </property>
  <property fmtid="{D5CDD505-2E9C-101B-9397-08002B2CF9AE}" pid="35" name="LearningOrganization">
    <vt:lpwstr/>
  </property>
  <property fmtid="{D5CDD505-2E9C-101B-9397-08002B2CF9AE}" pid="36" name="ldac8aee9d1f469e8cd8c3f8d6a615f2">
    <vt:lpwstr/>
  </property>
  <property fmtid="{D5CDD505-2E9C-101B-9397-08002B2CF9AE}" pid="37" name="EmployeeRole">
    <vt:lpwstr/>
  </property>
  <property fmtid="{D5CDD505-2E9C-101B-9397-08002B2CF9AE}" pid="38" name="NewsTopic">
    <vt:lpwstr/>
  </property>
  <property fmtid="{D5CDD505-2E9C-101B-9397-08002B2CF9AE}" pid="39" name="SalesGeography">
    <vt:lpwstr/>
  </property>
  <property fmtid="{D5CDD505-2E9C-101B-9397-08002B2CF9AE}" pid="40" name="LearningDeliveryMethod">
    <vt:lpwstr/>
  </property>
  <property fmtid="{D5CDD505-2E9C-101B-9397-08002B2CF9AE}" pid="41" name="Roles">
    <vt:lpwstr/>
  </property>
  <property fmtid="{D5CDD505-2E9C-101B-9397-08002B2CF9AE}" pid="42" name="ItemRetentionFormula">
    <vt:lpwstr/>
  </property>
  <property fmtid="{D5CDD505-2E9C-101B-9397-08002B2CF9AE}" pid="43" name="NewsSource">
    <vt:lpwstr/>
  </property>
  <property fmtid="{D5CDD505-2E9C-101B-9397-08002B2CF9AE}" pid="44" name="SMSGTags">
    <vt:lpwstr/>
  </property>
  <property fmtid="{D5CDD505-2E9C-101B-9397-08002B2CF9AE}" pid="45" name="_dlc_DocIdItemGuid">
    <vt:lpwstr>07721352-f0bf-41fc-8da7-ba3749a88128</vt:lpwstr>
  </property>
  <property fmtid="{D5CDD505-2E9C-101B-9397-08002B2CF9AE}" pid="46" name="MSPhysicalGeography">
    <vt:lpwstr/>
  </property>
  <property fmtid="{D5CDD505-2E9C-101B-9397-08002B2CF9AE}" pid="47" name="l311460e3fdf46688abc31ddb7bdc05a">
    <vt:lpwstr/>
  </property>
  <property fmtid="{D5CDD505-2E9C-101B-9397-08002B2CF9AE}" pid="48" name="EnterpriseDomainTags">
    <vt:lpwstr/>
  </property>
  <property fmtid="{D5CDD505-2E9C-101B-9397-08002B2CF9AE}" pid="49" name="j3562c58ee414e028925bc902cfc01a1">
    <vt:lpwstr/>
  </property>
  <property fmtid="{D5CDD505-2E9C-101B-9397-08002B2CF9AE}" pid="50" name="ActivitiesAndPrograms">
    <vt:lpwstr/>
  </property>
  <property fmtid="{D5CDD505-2E9C-101B-9397-08002B2CF9AE}" pid="51" name="Segments">
    <vt:lpwstr/>
  </property>
  <property fmtid="{D5CDD505-2E9C-101B-9397-08002B2CF9AE}" pid="52" name="Partners">
    <vt:lpwstr/>
  </property>
  <property fmtid="{D5CDD505-2E9C-101B-9397-08002B2CF9AE}" pid="53" name="la4444b61d19467597d63190b69ac227">
    <vt:lpwstr/>
  </property>
  <property fmtid="{D5CDD505-2E9C-101B-9397-08002B2CF9AE}" pid="54" name="SharedWithUsers">
    <vt:lpwstr>63906;#Hui Jeng Lee (Alfa Connections Pte Ltd)</vt:lpwstr>
  </property>
  <property fmtid="{D5CDD505-2E9C-101B-9397-08002B2CF9AE}" pid="55" name="MSIP_Label_f42aa342-8706-4288-bd11-ebb85995028c_Enabled">
    <vt:lpwstr>True</vt:lpwstr>
  </property>
  <property fmtid="{D5CDD505-2E9C-101B-9397-08002B2CF9AE}" pid="56" name="MSIP_Label_f42aa342-8706-4288-bd11-ebb85995028c_SiteId">
    <vt:lpwstr>72f988bf-86f1-41af-91ab-2d7cd011db47</vt:lpwstr>
  </property>
  <property fmtid="{D5CDD505-2E9C-101B-9397-08002B2CF9AE}" pid="57" name="MSIP_Label_f42aa342-8706-4288-bd11-ebb85995028c_Ref">
    <vt:lpwstr>https://api.informationprotection.azure.com/api/72f988bf-86f1-41af-91ab-2d7cd011db47</vt:lpwstr>
  </property>
  <property fmtid="{D5CDD505-2E9C-101B-9397-08002B2CF9AE}" pid="58" name="MSIP_Label_f42aa342-8706-4288-bd11-ebb85995028c_Owner">
    <vt:lpwstr>makanw@microsoft.com</vt:lpwstr>
  </property>
  <property fmtid="{D5CDD505-2E9C-101B-9397-08002B2CF9AE}" pid="59" name="MSIP_Label_f42aa342-8706-4288-bd11-ebb85995028c_SetDate">
    <vt:lpwstr>2017-09-26T17:33:13.3002111+01:00</vt:lpwstr>
  </property>
  <property fmtid="{D5CDD505-2E9C-101B-9397-08002B2CF9AE}" pid="60" name="MSIP_Label_f42aa342-8706-4288-bd11-ebb85995028c_Name">
    <vt:lpwstr>General</vt:lpwstr>
  </property>
  <property fmtid="{D5CDD505-2E9C-101B-9397-08002B2CF9AE}" pid="61" name="MSIP_Label_f42aa342-8706-4288-bd11-ebb85995028c_Application">
    <vt:lpwstr>Microsoft Azure Information Protection</vt:lpwstr>
  </property>
  <property fmtid="{D5CDD505-2E9C-101B-9397-08002B2CF9AE}" pid="62" name="MSIP_Label_f42aa342-8706-4288-bd11-ebb85995028c_Extended_MSFT_Method">
    <vt:lpwstr>Automatic</vt:lpwstr>
  </property>
  <property fmtid="{D5CDD505-2E9C-101B-9397-08002B2CF9AE}" pid="63" name="Sensitivity">
    <vt:lpwstr>General</vt:lpwstr>
  </property>
  <property fmtid="{D5CDD505-2E9C-101B-9397-08002B2CF9AE}" pid="64" name="ContentTypeId">
    <vt:lpwstr>0x0101004637B333D9039F42B4A841E7D21AD3E7</vt:lpwstr>
  </property>
  <property fmtid="{D5CDD505-2E9C-101B-9397-08002B2CF9AE}" pid="65" name="AuthorIds_UIVersion_2048">
    <vt:lpwstr>10</vt:lpwstr>
  </property>
</Properties>
</file>